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1.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4.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20"/>
  </p:notesMasterIdLst>
  <p:handoutMasterIdLst>
    <p:handoutMasterId r:id="rId21"/>
  </p:handoutMasterIdLst>
  <p:sldIdLst>
    <p:sldId id="532" r:id="rId2"/>
    <p:sldId id="533" r:id="rId3"/>
    <p:sldId id="534" r:id="rId4"/>
    <p:sldId id="436" r:id="rId5"/>
    <p:sldId id="437" r:id="rId6"/>
    <p:sldId id="438" r:id="rId7"/>
    <p:sldId id="539" r:id="rId8"/>
    <p:sldId id="540" r:id="rId9"/>
    <p:sldId id="541" r:id="rId10"/>
    <p:sldId id="439" r:id="rId11"/>
    <p:sldId id="440" r:id="rId12"/>
    <p:sldId id="542" r:id="rId13"/>
    <p:sldId id="543" r:id="rId14"/>
    <p:sldId id="441" r:id="rId15"/>
    <p:sldId id="442" r:id="rId16"/>
    <p:sldId id="545" r:id="rId17"/>
    <p:sldId id="546" r:id="rId18"/>
    <p:sldId id="547" r:id="rId19"/>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12" autoAdjust="0"/>
    <p:restoredTop sz="80136" autoAdjust="0"/>
  </p:normalViewPr>
  <p:slideViewPr>
    <p:cSldViewPr>
      <p:cViewPr varScale="1">
        <p:scale>
          <a:sx n="101" d="100"/>
          <a:sy n="101" d="100"/>
        </p:scale>
        <p:origin x="1272" y="192"/>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B12AECE8-E731-4B49-AF4B-89711430AF8E}" type="presOf" srcId="{5D62F0D9-F62E-470E-86C1-99BBA8E85072}" destId="{8A46F5DD-BBB3-4FA2-8F4F-67830FF58BA8}" srcOrd="0" destOrd="0" presId="urn:microsoft.com/office/officeart/2005/8/layout/cycle2"/>
    <dgm:cxn modelId="{DCC3C2FC-292E-D348-BA12-CB2B3D88D332}" type="presOf" srcId="{9DF463DA-C321-47BB-A748-44B5D722BDE4}" destId="{03D7DCAF-0535-410C-B056-000B4ED11701}" srcOrd="0" destOrd="0" presId="urn:microsoft.com/office/officeart/2005/8/layout/cycle2"/>
    <dgm:cxn modelId="{776F1AFB-16D4-FD42-86A9-2A59A222FBB7}"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4F8F00F-455E-AE40-9961-CCE1A3B4B946}" type="presOf" srcId="{5D62F0D9-F62E-470E-86C1-99BBA8E85072}" destId="{8A46F5DD-BBB3-4FA2-8F4F-67830FF58BA8}" srcOrd="0" destOrd="0" presId="urn:microsoft.com/office/officeart/2005/8/layout/cycle2"/>
    <dgm:cxn modelId="{90BF15A0-C6AB-BF48-A563-DD28AFCEF9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0E5191FF-D09D-1349-8038-797A8A7421D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personalizing th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pt>
  </dgm:ptLst>
  <dgm:cxnLst>
    <dgm:cxn modelId="{F7C73206-7F67-A04E-B1B4-0D3FE393BD1F}" type="presOf" srcId="{C7F8E31E-1B1C-F149-9A39-566188585147}" destId="{D318CF66-E904-4B8F-9EF2-32A9C2878F07}"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BCF8CFFF-A913-C145-B6D8-FE30D305FBA5}" type="presOf" srcId="{7BC2DB20-EFFD-4E7B-93C1-553BACDC4218}" destId="{CFD475EB-E371-4E1B-B52F-2330D78E893F}" srcOrd="0" destOrd="0" presId="urn:microsoft.com/office/officeart/2005/8/layout/vList2"/>
    <dgm:cxn modelId="{0E96F9AB-F7D6-784D-AD50-9EA0E03D7061}"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F266273-9237-774E-B30E-ECCC42576AFF}" type="presOf" srcId="{5D62F0D9-F62E-470E-86C1-99BBA8E85072}" destId="{8A46F5DD-BBB3-4FA2-8F4F-67830FF58BA8}" srcOrd="0" destOrd="0" presId="urn:microsoft.com/office/officeart/2005/8/layout/cycle2"/>
    <dgm:cxn modelId="{DD144285-53A4-D047-BA20-703E9ADE543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C720071E-402D-894A-BC34-B617426F7C8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s 12-13</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30D2881-B46E-3548-8869-8CAB76AEEF4B}" type="presOf" srcId="{9DF463DA-C321-47BB-A748-44B5D722BDE4}" destId="{03D7DCAF-0535-410C-B056-000B4ED11701}" srcOrd="0" destOrd="0" presId="urn:microsoft.com/office/officeart/2005/8/layout/cycle2"/>
    <dgm:cxn modelId="{DE0344B7-26F4-D14F-BE6E-281AB0CB251C}"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A661166-A95E-8942-A9F4-31E2F2A6910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getting started</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2EBE6179-CCAA-43B4-99D0-D1FBD8338CDA}">
      <dgm:prSet custT="1"/>
      <dgm:spPr/>
      <dgm:t>
        <a:bodyPr/>
        <a:lstStyle/>
        <a:p>
          <a:pPr rtl="0"/>
          <a:r>
            <a:rPr lang="en-CA" sz="2400" dirty="0"/>
            <a:t>new / carry-forward </a:t>
          </a:r>
        </a:p>
      </dgm:t>
    </dgm:pt>
    <dgm:pt modelId="{CCE85E25-12D3-40B9-9060-C08805620193}" type="parTrans" cxnId="{664686B3-0591-457A-8E78-49FDEC1F11D0}">
      <dgm:prSet/>
      <dgm:spPr/>
      <dgm:t>
        <a:bodyPr/>
        <a:lstStyle/>
        <a:p>
          <a:endParaRPr lang="en-US"/>
        </a:p>
      </dgm:t>
    </dgm:pt>
    <dgm:pt modelId="{A3C2D95F-49C9-4903-9AEC-101A97E2106F}" type="sibTrans" cxnId="{664686B3-0591-457A-8E78-49FDEC1F11D0}">
      <dgm:prSet/>
      <dgm:spPr/>
      <dgm:t>
        <a:bodyPr/>
        <a:lstStyle/>
        <a:p>
          <a:endParaRPr lang="en-US"/>
        </a:p>
      </dgm:t>
    </dgm:pt>
    <dgm:pt modelId="{982763B2-4EB1-43A4-921A-B736A78FCF32}">
      <dgm:prSet/>
      <dgm:spPr/>
      <dgm:t>
        <a:bodyPr/>
        <a:lstStyle/>
        <a:p>
          <a:pPr rtl="0"/>
          <a:r>
            <a:rPr lang="en-CA" dirty="0"/>
            <a:t>info page</a:t>
          </a:r>
        </a:p>
      </dgm:t>
    </dgm:pt>
    <dgm:pt modelId="{447C76E1-E241-4AD8-95A7-8441341F7E52}" type="parTrans" cxnId="{37786D6F-376D-4357-AE9D-6293CFB89315}">
      <dgm:prSet/>
      <dgm:spPr/>
      <dgm:t>
        <a:bodyPr/>
        <a:lstStyle/>
        <a:p>
          <a:endParaRPr lang="en-US"/>
        </a:p>
      </dgm:t>
    </dgm:pt>
    <dgm:pt modelId="{9E898410-BC78-493F-B118-B2C5E985B297}" type="sibTrans" cxnId="{37786D6F-376D-4357-AE9D-6293CFB89315}">
      <dgm:prSet/>
      <dgm:spPr/>
      <dgm:t>
        <a:bodyPr/>
        <a:lstStyle/>
        <a:p>
          <a:endParaRPr lang="en-US"/>
        </a:p>
      </dgm:t>
    </dgm:pt>
    <dgm:pt modelId="{23B50714-0509-4642-A7B1-89D393B513F5}">
      <dgm:prSet/>
      <dgm:spPr/>
      <dgm:t>
        <a:bodyPr/>
        <a:lstStyle/>
        <a:p>
          <a:pPr rtl="0"/>
          <a:r>
            <a:rPr lang="en-CA" dirty="0"/>
            <a:t>data entry</a:t>
          </a:r>
        </a:p>
      </dgm:t>
    </dgm:pt>
    <dgm:pt modelId="{04DE2E30-4ABD-D44A-91B7-D41C73905A4A}" type="parTrans" cxnId="{38D3E360-6B7F-3F4D-97AC-D16601442BD8}">
      <dgm:prSet/>
      <dgm:spPr/>
      <dgm:t>
        <a:bodyPr/>
        <a:lstStyle/>
        <a:p>
          <a:endParaRPr lang="en-CA"/>
        </a:p>
      </dgm:t>
    </dgm:pt>
    <dgm:pt modelId="{BD808240-02A6-B741-8242-1DD5D6CD3911}" type="sibTrans" cxnId="{38D3E360-6B7F-3F4D-97AC-D16601442BD8}">
      <dgm:prSet/>
      <dgm:spPr/>
      <dgm:t>
        <a:bodyPr/>
        <a:lstStyle/>
        <a:p>
          <a:endParaRPr lang="en-CA"/>
        </a:p>
      </dgm:t>
    </dgm:pt>
    <dgm:pt modelId="{91C9005D-057D-494E-8A8F-33EBAEA63E39}">
      <dgm:prSet/>
      <dgm:spPr/>
      <dgm:t>
        <a:bodyPr/>
        <a:lstStyle/>
        <a:p>
          <a:pPr rtl="0"/>
          <a:r>
            <a:rPr lang="en-CA" dirty="0"/>
            <a:t>contact &amp; other personal info</a:t>
          </a:r>
        </a:p>
      </dgm:t>
    </dgm:pt>
    <dgm:pt modelId="{D00A60DF-23E3-8548-A5AF-36F4ED07B048}" type="parTrans" cxnId="{2B23F4D3-3E3B-2745-BD66-2C627844B54D}">
      <dgm:prSet/>
      <dgm:spPr/>
      <dgm:t>
        <a:bodyPr/>
        <a:lstStyle/>
        <a:p>
          <a:endParaRPr lang="en-CA"/>
        </a:p>
      </dgm:t>
    </dgm:pt>
    <dgm:pt modelId="{82ACE0BA-A47F-244D-A099-EFA5B3BF9B20}" type="sibTrans" cxnId="{2B23F4D3-3E3B-2745-BD66-2C627844B54D}">
      <dgm:prSet/>
      <dgm:spPr/>
      <dgm:t>
        <a:bodyPr/>
        <a:lstStyle/>
        <a:p>
          <a:endParaRPr lang="en-CA"/>
        </a:p>
      </dgm:t>
    </dgm:pt>
    <dgm:pt modelId="{79EA1DF4-2E79-4E47-9205-2B9724EED28F}">
      <dgm:prSet custT="1"/>
      <dgm:spPr/>
      <dgm:t>
        <a:bodyPr/>
        <a:lstStyle/>
        <a:p>
          <a:pPr rtl="0"/>
          <a:r>
            <a:rPr lang="en-CA" sz="2400" dirty="0"/>
            <a:t>quick icons</a:t>
          </a:r>
        </a:p>
      </dgm:t>
    </dgm:pt>
    <dgm:pt modelId="{963380A3-4580-8C49-81CA-E5A6A0415CF3}" type="parTrans" cxnId="{90C02F80-0735-1645-8E06-46C41655E386}">
      <dgm:prSet/>
      <dgm:spPr/>
      <dgm:t>
        <a:bodyPr/>
        <a:lstStyle/>
        <a:p>
          <a:endParaRPr lang="en-CA"/>
        </a:p>
      </dgm:t>
    </dgm:pt>
    <dgm:pt modelId="{8A9F82E9-9D6B-D045-A71A-150CB955965F}" type="sibTrans" cxnId="{90C02F80-0735-1645-8E06-46C41655E386}">
      <dgm:prSet/>
      <dgm:spPr/>
      <dgm:t>
        <a:bodyPr/>
        <a:lstStyle/>
        <a:p>
          <a:endParaRPr lang="en-CA"/>
        </a:p>
      </dgm:t>
    </dgm:pt>
    <dgm:pt modelId="{15F6196D-1312-A648-9829-A0242BBC6E46}" type="pres">
      <dgm:prSet presAssocID="{02BA0D8E-884F-D545-BFF7-95207C181DAB}" presName="vert0" presStyleCnt="0">
        <dgm:presLayoutVars>
          <dgm:dir/>
          <dgm:animOne val="branch"/>
          <dgm:animLvl val="lvl"/>
        </dgm:presLayoutVars>
      </dgm:prSet>
      <dgm:spPr/>
    </dgm:pt>
    <dgm:pt modelId="{D53A6C1C-2CE3-394B-834A-DE43A1487D1A}" type="pres">
      <dgm:prSet presAssocID="{CF0461F7-EC97-BB41-A574-9C1E3009EACC}" presName="thickLine" presStyleLbl="alignNode1" presStyleIdx="0" presStyleCnt="3"/>
      <dgm:spPr/>
    </dgm:pt>
    <dgm:pt modelId="{68E07CC0-9312-DD47-B79A-92DD2EAB6ECE}" type="pres">
      <dgm:prSet presAssocID="{CF0461F7-EC97-BB41-A574-9C1E3009EACC}" presName="horz1" presStyleCnt="0"/>
      <dgm:spPr/>
    </dgm:pt>
    <dgm:pt modelId="{595FE38F-5976-7548-812D-F9AEEC8EA7CF}" type="pres">
      <dgm:prSet presAssocID="{CF0461F7-EC97-BB41-A574-9C1E3009EACC}" presName="tx1" presStyleLbl="revTx" presStyleIdx="0" presStyleCnt="6"/>
      <dgm:spPr/>
    </dgm:pt>
    <dgm:pt modelId="{2B1568B2-2A40-6849-9904-F5BEFC23CF89}" type="pres">
      <dgm:prSet presAssocID="{CF0461F7-EC97-BB41-A574-9C1E3009EACC}" presName="vert1" presStyleCnt="0"/>
      <dgm:spPr/>
    </dgm:pt>
    <dgm:pt modelId="{EAA26F0F-940E-3744-ABEA-69A84BE61A01}" type="pres">
      <dgm:prSet presAssocID="{2EBE6179-CCAA-43B4-99D0-D1FBD8338CDA}" presName="vertSpace2a" presStyleCnt="0"/>
      <dgm:spPr/>
    </dgm:pt>
    <dgm:pt modelId="{3303CD4D-9E9F-F94E-B97F-C200A0AC9207}" type="pres">
      <dgm:prSet presAssocID="{2EBE6179-CCAA-43B4-99D0-D1FBD8338CDA}" presName="horz2" presStyleCnt="0"/>
      <dgm:spPr/>
    </dgm:pt>
    <dgm:pt modelId="{8AE0ABE4-07D5-6F42-8FA8-0570820E4DD9}" type="pres">
      <dgm:prSet presAssocID="{2EBE6179-CCAA-43B4-99D0-D1FBD8338CDA}" presName="horzSpace2" presStyleCnt="0"/>
      <dgm:spPr/>
    </dgm:pt>
    <dgm:pt modelId="{639C6C1B-089A-2649-AB39-4C131701D28A}" type="pres">
      <dgm:prSet presAssocID="{2EBE6179-CCAA-43B4-99D0-D1FBD8338CDA}" presName="tx2" presStyleLbl="revTx" presStyleIdx="1" presStyleCnt="6"/>
      <dgm:spPr/>
    </dgm:pt>
    <dgm:pt modelId="{058C1A79-8BEB-354C-805F-4E23B8397D94}" type="pres">
      <dgm:prSet presAssocID="{2EBE6179-CCAA-43B4-99D0-D1FBD8338CDA}" presName="vert2" presStyleCnt="0"/>
      <dgm:spPr/>
    </dgm:pt>
    <dgm:pt modelId="{21051082-6C1C-EF41-9F06-FFE2C4C72123}" type="pres">
      <dgm:prSet presAssocID="{2EBE6179-CCAA-43B4-99D0-D1FBD8338CDA}" presName="thinLine2b" presStyleLbl="callout" presStyleIdx="0" presStyleCnt="3"/>
      <dgm:spPr/>
    </dgm:pt>
    <dgm:pt modelId="{FD52FAF6-6865-8141-9806-DE01F0E5A40E}" type="pres">
      <dgm:prSet presAssocID="{2EBE6179-CCAA-43B4-99D0-D1FBD8338CDA}" presName="vertSpace2b" presStyleCnt="0"/>
      <dgm:spPr/>
    </dgm:pt>
    <dgm:pt modelId="{455B76A0-4BFD-E548-8133-A0551127E5D9}" type="pres">
      <dgm:prSet presAssocID="{982763B2-4EB1-43A4-921A-B736A78FCF32}" presName="thickLine" presStyleLbl="alignNode1" presStyleIdx="1" presStyleCnt="3"/>
      <dgm:spPr/>
    </dgm:pt>
    <dgm:pt modelId="{69466676-C6F0-9147-8950-9553C380629C}" type="pres">
      <dgm:prSet presAssocID="{982763B2-4EB1-43A4-921A-B736A78FCF32}" presName="horz1" presStyleCnt="0"/>
      <dgm:spPr/>
    </dgm:pt>
    <dgm:pt modelId="{AAA932E2-EB87-3449-BA5E-08D27C68527B}" type="pres">
      <dgm:prSet presAssocID="{982763B2-4EB1-43A4-921A-B736A78FCF32}" presName="tx1" presStyleLbl="revTx" presStyleIdx="2" presStyleCnt="6"/>
      <dgm:spPr/>
    </dgm:pt>
    <dgm:pt modelId="{DDE93983-2913-9842-AA1E-044CE8EC7DF9}" type="pres">
      <dgm:prSet presAssocID="{982763B2-4EB1-43A4-921A-B736A78FCF32}" presName="vert1" presStyleCnt="0"/>
      <dgm:spPr/>
    </dgm:pt>
    <dgm:pt modelId="{52F2C47F-AD39-B04B-A4AA-D5D121FE091A}" type="pres">
      <dgm:prSet presAssocID="{91C9005D-057D-494E-8A8F-33EBAEA63E39}" presName="vertSpace2a" presStyleCnt="0"/>
      <dgm:spPr/>
    </dgm:pt>
    <dgm:pt modelId="{33BC7C49-BD43-C84B-ADB7-49C724724E91}" type="pres">
      <dgm:prSet presAssocID="{91C9005D-057D-494E-8A8F-33EBAEA63E39}" presName="horz2" presStyleCnt="0"/>
      <dgm:spPr/>
    </dgm:pt>
    <dgm:pt modelId="{5B856C50-614B-2143-A22E-49AC401E47E3}" type="pres">
      <dgm:prSet presAssocID="{91C9005D-057D-494E-8A8F-33EBAEA63E39}" presName="horzSpace2" presStyleCnt="0"/>
      <dgm:spPr/>
    </dgm:pt>
    <dgm:pt modelId="{DF528D86-1CF0-2648-A8FF-A4D55CF0F304}" type="pres">
      <dgm:prSet presAssocID="{91C9005D-057D-494E-8A8F-33EBAEA63E39}" presName="tx2" presStyleLbl="revTx" presStyleIdx="3" presStyleCnt="6"/>
      <dgm:spPr/>
    </dgm:pt>
    <dgm:pt modelId="{31A05761-06BA-FE4D-A55F-32F0B22F382A}" type="pres">
      <dgm:prSet presAssocID="{91C9005D-057D-494E-8A8F-33EBAEA63E39}" presName="vert2" presStyleCnt="0"/>
      <dgm:spPr/>
    </dgm:pt>
    <dgm:pt modelId="{69BC30E3-B898-BB45-90AD-A2BB6F9930AB}" type="pres">
      <dgm:prSet presAssocID="{91C9005D-057D-494E-8A8F-33EBAEA63E39}" presName="thinLine2b" presStyleLbl="callout" presStyleIdx="1" presStyleCnt="3"/>
      <dgm:spPr/>
    </dgm:pt>
    <dgm:pt modelId="{BE061702-CD01-0C40-9616-454B32F57415}" type="pres">
      <dgm:prSet presAssocID="{91C9005D-057D-494E-8A8F-33EBAEA63E39}" presName="vertSpace2b" presStyleCnt="0"/>
      <dgm:spPr/>
    </dgm:pt>
    <dgm:pt modelId="{A40C0584-9CF2-8246-BDAA-A024F6CB273B}" type="pres">
      <dgm:prSet presAssocID="{23B50714-0509-4642-A7B1-89D393B513F5}" presName="thickLine" presStyleLbl="alignNode1" presStyleIdx="2" presStyleCnt="3"/>
      <dgm:spPr/>
    </dgm:pt>
    <dgm:pt modelId="{93FD71B3-B2B7-0949-ADAC-5FD317C387AA}" type="pres">
      <dgm:prSet presAssocID="{23B50714-0509-4642-A7B1-89D393B513F5}" presName="horz1" presStyleCnt="0"/>
      <dgm:spPr/>
    </dgm:pt>
    <dgm:pt modelId="{134842BF-3DCE-9C4F-B2FA-B1ABD9257499}" type="pres">
      <dgm:prSet presAssocID="{23B50714-0509-4642-A7B1-89D393B513F5}" presName="tx1" presStyleLbl="revTx" presStyleIdx="4" presStyleCnt="6"/>
      <dgm:spPr/>
    </dgm:pt>
    <dgm:pt modelId="{4493D1FA-882A-314A-AAD4-EB03DC166E9D}" type="pres">
      <dgm:prSet presAssocID="{23B50714-0509-4642-A7B1-89D393B513F5}" presName="vert1" presStyleCnt="0"/>
      <dgm:spPr/>
    </dgm:pt>
    <dgm:pt modelId="{D234F7AD-8FF5-D54E-BD2E-8A561E2394B9}" type="pres">
      <dgm:prSet presAssocID="{79EA1DF4-2E79-4E47-9205-2B9724EED28F}" presName="vertSpace2a" presStyleCnt="0"/>
      <dgm:spPr/>
    </dgm:pt>
    <dgm:pt modelId="{3AB47FAB-7509-6346-8B1B-11085A1CDD75}" type="pres">
      <dgm:prSet presAssocID="{79EA1DF4-2E79-4E47-9205-2B9724EED28F}" presName="horz2" presStyleCnt="0"/>
      <dgm:spPr/>
    </dgm:pt>
    <dgm:pt modelId="{551D5910-CE43-9147-A6EC-90B7EE3853D2}" type="pres">
      <dgm:prSet presAssocID="{79EA1DF4-2E79-4E47-9205-2B9724EED28F}" presName="horzSpace2" presStyleCnt="0"/>
      <dgm:spPr/>
    </dgm:pt>
    <dgm:pt modelId="{D4EBAB2D-C455-B745-9DC6-7C35D6A3C323}" type="pres">
      <dgm:prSet presAssocID="{79EA1DF4-2E79-4E47-9205-2B9724EED28F}" presName="tx2" presStyleLbl="revTx" presStyleIdx="5" presStyleCnt="6"/>
      <dgm:spPr/>
    </dgm:pt>
    <dgm:pt modelId="{8202DE08-F0F9-5345-A460-122E0BE05ACC}" type="pres">
      <dgm:prSet presAssocID="{79EA1DF4-2E79-4E47-9205-2B9724EED28F}" presName="vert2" presStyleCnt="0"/>
      <dgm:spPr/>
    </dgm:pt>
    <dgm:pt modelId="{53E7ED3B-28BF-B245-983D-051270F9A842}" type="pres">
      <dgm:prSet presAssocID="{79EA1DF4-2E79-4E47-9205-2B9724EED28F}" presName="thinLine2b" presStyleLbl="callout" presStyleIdx="2" presStyleCnt="3"/>
      <dgm:spPr/>
    </dgm:pt>
    <dgm:pt modelId="{13F03754-9B06-2244-AE7B-1AAA11BBC387}" type="pres">
      <dgm:prSet presAssocID="{79EA1DF4-2E79-4E47-9205-2B9724EED28F}" presName="vertSpace2b" presStyleCnt="0"/>
      <dgm:spPr/>
    </dgm:pt>
  </dgm:ptLst>
  <dgm:cxnLst>
    <dgm:cxn modelId="{E19CE400-7245-3A43-8D1B-BA05DA8DC84E}" type="presOf" srcId="{02BA0D8E-884F-D545-BFF7-95207C181DAB}" destId="{15F6196D-1312-A648-9829-A0242BBC6E46}" srcOrd="0" destOrd="0" presId="urn:microsoft.com/office/officeart/2008/layout/LinedList"/>
    <dgm:cxn modelId="{38D3E360-6B7F-3F4D-97AC-D16601442BD8}" srcId="{02BA0D8E-884F-D545-BFF7-95207C181DAB}" destId="{23B50714-0509-4642-A7B1-89D393B513F5}" srcOrd="2" destOrd="0" parTransId="{04DE2E30-4ABD-D44A-91B7-D41C73905A4A}" sibTransId="{BD808240-02A6-B741-8242-1DD5D6CD3911}"/>
    <dgm:cxn modelId="{FA2C406B-A609-094E-A810-B35552B41C49}" type="presOf" srcId="{CF0461F7-EC97-BB41-A574-9C1E3009EACC}" destId="{595FE38F-5976-7548-812D-F9AEEC8EA7CF}" srcOrd="0" destOrd="0" presId="urn:microsoft.com/office/officeart/2008/layout/LinedList"/>
    <dgm:cxn modelId="{37786D6F-376D-4357-AE9D-6293CFB89315}" srcId="{02BA0D8E-884F-D545-BFF7-95207C181DAB}" destId="{982763B2-4EB1-43A4-921A-B736A78FCF32}" srcOrd="1" destOrd="0" parTransId="{447C76E1-E241-4AD8-95A7-8441341F7E52}" sibTransId="{9E898410-BC78-493F-B118-B2C5E985B297}"/>
    <dgm:cxn modelId="{90C02F80-0735-1645-8E06-46C41655E386}" srcId="{23B50714-0509-4642-A7B1-89D393B513F5}" destId="{79EA1DF4-2E79-4E47-9205-2B9724EED28F}" srcOrd="0" destOrd="0" parTransId="{963380A3-4580-8C49-81CA-E5A6A0415CF3}" sibTransId="{8A9F82E9-9D6B-D045-A71A-150CB955965F}"/>
    <dgm:cxn modelId="{11215880-B067-8C4F-87B7-FE42D10FFDF4}" type="presOf" srcId="{91C9005D-057D-494E-8A8F-33EBAEA63E39}" destId="{DF528D86-1CF0-2648-A8FF-A4D55CF0F304}" srcOrd="0" destOrd="0" presId="urn:microsoft.com/office/officeart/2008/layout/LinedList"/>
    <dgm:cxn modelId="{42375C8A-03AC-6E4C-82BE-339FF9C85C73}" type="presOf" srcId="{2EBE6179-CCAA-43B4-99D0-D1FBD8338CDA}" destId="{639C6C1B-089A-2649-AB39-4C131701D28A}"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664686B3-0591-457A-8E78-49FDEC1F11D0}" srcId="{CF0461F7-EC97-BB41-A574-9C1E3009EACC}" destId="{2EBE6179-CCAA-43B4-99D0-D1FBD8338CDA}" srcOrd="0" destOrd="0" parTransId="{CCE85E25-12D3-40B9-9060-C08805620193}" sibTransId="{A3C2D95F-49C9-4903-9AEC-101A97E2106F}"/>
    <dgm:cxn modelId="{2B23F4D3-3E3B-2745-BD66-2C627844B54D}" srcId="{982763B2-4EB1-43A4-921A-B736A78FCF32}" destId="{91C9005D-057D-494E-8A8F-33EBAEA63E39}" srcOrd="0" destOrd="0" parTransId="{D00A60DF-23E3-8548-A5AF-36F4ED07B048}" sibTransId="{82ACE0BA-A47F-244D-A099-EFA5B3BF9B20}"/>
    <dgm:cxn modelId="{76852BE2-D435-EE4B-8F9E-85ED505814FC}" type="presOf" srcId="{23B50714-0509-4642-A7B1-89D393B513F5}" destId="{134842BF-3DCE-9C4F-B2FA-B1ABD9257499}" srcOrd="0" destOrd="0" presId="urn:microsoft.com/office/officeart/2008/layout/LinedList"/>
    <dgm:cxn modelId="{DFBFB5EC-1AE5-3445-98C1-B51CFB32F98B}" type="presOf" srcId="{982763B2-4EB1-43A4-921A-B736A78FCF32}" destId="{AAA932E2-EB87-3449-BA5E-08D27C68527B}" srcOrd="0" destOrd="0" presId="urn:microsoft.com/office/officeart/2008/layout/LinedList"/>
    <dgm:cxn modelId="{073A6AF4-D0DE-E440-8206-0965F67BE534}" type="presOf" srcId="{79EA1DF4-2E79-4E47-9205-2B9724EED28F}" destId="{D4EBAB2D-C455-B745-9DC6-7C35D6A3C323}" srcOrd="0" destOrd="0" presId="urn:microsoft.com/office/officeart/2008/layout/LinedList"/>
    <dgm:cxn modelId="{505D069F-F0F1-CC4C-A5F6-820F0761B48F}" type="presParOf" srcId="{15F6196D-1312-A648-9829-A0242BBC6E46}" destId="{D53A6C1C-2CE3-394B-834A-DE43A1487D1A}" srcOrd="0" destOrd="0" presId="urn:microsoft.com/office/officeart/2008/layout/LinedList"/>
    <dgm:cxn modelId="{E4859999-8681-4F4F-9E77-F0B3B5251FAA}" type="presParOf" srcId="{15F6196D-1312-A648-9829-A0242BBC6E46}" destId="{68E07CC0-9312-DD47-B79A-92DD2EAB6ECE}" srcOrd="1" destOrd="0" presId="urn:microsoft.com/office/officeart/2008/layout/LinedList"/>
    <dgm:cxn modelId="{794924A4-6E19-2A45-A355-4E86E5A0E740}" type="presParOf" srcId="{68E07CC0-9312-DD47-B79A-92DD2EAB6ECE}" destId="{595FE38F-5976-7548-812D-F9AEEC8EA7CF}" srcOrd="0" destOrd="0" presId="urn:microsoft.com/office/officeart/2008/layout/LinedList"/>
    <dgm:cxn modelId="{32C9721C-87FB-014E-B633-03C10DDC0A87}" type="presParOf" srcId="{68E07CC0-9312-DD47-B79A-92DD2EAB6ECE}" destId="{2B1568B2-2A40-6849-9904-F5BEFC23CF89}" srcOrd="1" destOrd="0" presId="urn:microsoft.com/office/officeart/2008/layout/LinedList"/>
    <dgm:cxn modelId="{B469881A-6025-B843-B27C-BD670D40F744}" type="presParOf" srcId="{2B1568B2-2A40-6849-9904-F5BEFC23CF89}" destId="{EAA26F0F-940E-3744-ABEA-69A84BE61A01}" srcOrd="0" destOrd="0" presId="urn:microsoft.com/office/officeart/2008/layout/LinedList"/>
    <dgm:cxn modelId="{4934D702-A1A8-D248-9294-AA75BCD87A3D}" type="presParOf" srcId="{2B1568B2-2A40-6849-9904-F5BEFC23CF89}" destId="{3303CD4D-9E9F-F94E-B97F-C200A0AC9207}" srcOrd="1" destOrd="0" presId="urn:microsoft.com/office/officeart/2008/layout/LinedList"/>
    <dgm:cxn modelId="{229A7D29-A63B-464C-8C2A-F8A1475B5F6E}" type="presParOf" srcId="{3303CD4D-9E9F-F94E-B97F-C200A0AC9207}" destId="{8AE0ABE4-07D5-6F42-8FA8-0570820E4DD9}" srcOrd="0" destOrd="0" presId="urn:microsoft.com/office/officeart/2008/layout/LinedList"/>
    <dgm:cxn modelId="{CDE5A08C-25B3-3544-BA50-4246CA33FFC3}" type="presParOf" srcId="{3303CD4D-9E9F-F94E-B97F-C200A0AC9207}" destId="{639C6C1B-089A-2649-AB39-4C131701D28A}" srcOrd="1" destOrd="0" presId="urn:microsoft.com/office/officeart/2008/layout/LinedList"/>
    <dgm:cxn modelId="{86E1BD9A-E755-C64A-AA67-CD8366C97397}" type="presParOf" srcId="{3303CD4D-9E9F-F94E-B97F-C200A0AC9207}" destId="{058C1A79-8BEB-354C-805F-4E23B8397D94}" srcOrd="2" destOrd="0" presId="urn:microsoft.com/office/officeart/2008/layout/LinedList"/>
    <dgm:cxn modelId="{4CDADC5B-39AF-C046-AA02-04B80526EC36}" type="presParOf" srcId="{2B1568B2-2A40-6849-9904-F5BEFC23CF89}" destId="{21051082-6C1C-EF41-9F06-FFE2C4C72123}" srcOrd="2" destOrd="0" presId="urn:microsoft.com/office/officeart/2008/layout/LinedList"/>
    <dgm:cxn modelId="{B959D33E-17EA-4A40-A4F0-603B21513FE2}" type="presParOf" srcId="{2B1568B2-2A40-6849-9904-F5BEFC23CF89}" destId="{FD52FAF6-6865-8141-9806-DE01F0E5A40E}" srcOrd="3" destOrd="0" presId="urn:microsoft.com/office/officeart/2008/layout/LinedList"/>
    <dgm:cxn modelId="{F22192F0-60AB-BD4D-A6F1-EBA2E854205F}" type="presParOf" srcId="{15F6196D-1312-A648-9829-A0242BBC6E46}" destId="{455B76A0-4BFD-E548-8133-A0551127E5D9}" srcOrd="2" destOrd="0" presId="urn:microsoft.com/office/officeart/2008/layout/LinedList"/>
    <dgm:cxn modelId="{035DC7A9-6D59-AE42-A81C-C2FD90690EC5}" type="presParOf" srcId="{15F6196D-1312-A648-9829-A0242BBC6E46}" destId="{69466676-C6F0-9147-8950-9553C380629C}" srcOrd="3" destOrd="0" presId="urn:microsoft.com/office/officeart/2008/layout/LinedList"/>
    <dgm:cxn modelId="{13A833F0-5F9F-4645-8722-EF6DA57C1B46}" type="presParOf" srcId="{69466676-C6F0-9147-8950-9553C380629C}" destId="{AAA932E2-EB87-3449-BA5E-08D27C68527B}" srcOrd="0" destOrd="0" presId="urn:microsoft.com/office/officeart/2008/layout/LinedList"/>
    <dgm:cxn modelId="{0BBECD6E-6B47-DF4B-80E3-A6D1A17E0D90}" type="presParOf" srcId="{69466676-C6F0-9147-8950-9553C380629C}" destId="{DDE93983-2913-9842-AA1E-044CE8EC7DF9}" srcOrd="1" destOrd="0" presId="urn:microsoft.com/office/officeart/2008/layout/LinedList"/>
    <dgm:cxn modelId="{D1BAD5C4-B2F0-D94F-A001-35CE97FC4A8B}" type="presParOf" srcId="{DDE93983-2913-9842-AA1E-044CE8EC7DF9}" destId="{52F2C47F-AD39-B04B-A4AA-D5D121FE091A}" srcOrd="0" destOrd="0" presId="urn:microsoft.com/office/officeart/2008/layout/LinedList"/>
    <dgm:cxn modelId="{E9F70818-9D33-294E-A7A9-2F1FD0AC9A29}" type="presParOf" srcId="{DDE93983-2913-9842-AA1E-044CE8EC7DF9}" destId="{33BC7C49-BD43-C84B-ADB7-49C724724E91}" srcOrd="1" destOrd="0" presId="urn:microsoft.com/office/officeart/2008/layout/LinedList"/>
    <dgm:cxn modelId="{33A8073B-9386-C448-A841-EBDA41200C62}" type="presParOf" srcId="{33BC7C49-BD43-C84B-ADB7-49C724724E91}" destId="{5B856C50-614B-2143-A22E-49AC401E47E3}" srcOrd="0" destOrd="0" presId="urn:microsoft.com/office/officeart/2008/layout/LinedList"/>
    <dgm:cxn modelId="{66B13333-4BB9-6C4E-87EE-CFDD68E43622}" type="presParOf" srcId="{33BC7C49-BD43-C84B-ADB7-49C724724E91}" destId="{DF528D86-1CF0-2648-A8FF-A4D55CF0F304}" srcOrd="1" destOrd="0" presId="urn:microsoft.com/office/officeart/2008/layout/LinedList"/>
    <dgm:cxn modelId="{07B91F0B-10B6-4141-B05D-BA216AFA1EA1}" type="presParOf" srcId="{33BC7C49-BD43-C84B-ADB7-49C724724E91}" destId="{31A05761-06BA-FE4D-A55F-32F0B22F382A}" srcOrd="2" destOrd="0" presId="urn:microsoft.com/office/officeart/2008/layout/LinedList"/>
    <dgm:cxn modelId="{49A6B9BA-DC24-B449-AD97-30A8899DA2C2}" type="presParOf" srcId="{DDE93983-2913-9842-AA1E-044CE8EC7DF9}" destId="{69BC30E3-B898-BB45-90AD-A2BB6F9930AB}" srcOrd="2" destOrd="0" presId="urn:microsoft.com/office/officeart/2008/layout/LinedList"/>
    <dgm:cxn modelId="{BD53F550-DED9-AE48-8012-82B70BA5F317}" type="presParOf" srcId="{DDE93983-2913-9842-AA1E-044CE8EC7DF9}" destId="{BE061702-CD01-0C40-9616-454B32F57415}" srcOrd="3" destOrd="0" presId="urn:microsoft.com/office/officeart/2008/layout/LinedList"/>
    <dgm:cxn modelId="{F1570796-0FD9-3446-A70B-3E9556464943}" type="presParOf" srcId="{15F6196D-1312-A648-9829-A0242BBC6E46}" destId="{A40C0584-9CF2-8246-BDAA-A024F6CB273B}" srcOrd="4" destOrd="0" presId="urn:microsoft.com/office/officeart/2008/layout/LinedList"/>
    <dgm:cxn modelId="{FFB570CF-DA6C-534C-86C8-2CAAFE620118}" type="presParOf" srcId="{15F6196D-1312-A648-9829-A0242BBC6E46}" destId="{93FD71B3-B2B7-0949-ADAC-5FD317C387AA}" srcOrd="5" destOrd="0" presId="urn:microsoft.com/office/officeart/2008/layout/LinedList"/>
    <dgm:cxn modelId="{2D461388-3E92-AC4E-BC1E-2A4E31C268FE}" type="presParOf" srcId="{93FD71B3-B2B7-0949-ADAC-5FD317C387AA}" destId="{134842BF-3DCE-9C4F-B2FA-B1ABD9257499}" srcOrd="0" destOrd="0" presId="urn:microsoft.com/office/officeart/2008/layout/LinedList"/>
    <dgm:cxn modelId="{69D3070E-FEAF-F442-9A63-E0EB2D002093}" type="presParOf" srcId="{93FD71B3-B2B7-0949-ADAC-5FD317C387AA}" destId="{4493D1FA-882A-314A-AAD4-EB03DC166E9D}" srcOrd="1" destOrd="0" presId="urn:microsoft.com/office/officeart/2008/layout/LinedList"/>
    <dgm:cxn modelId="{FB58BBEF-3735-6444-A52B-D52855A259E7}" type="presParOf" srcId="{4493D1FA-882A-314A-AAD4-EB03DC166E9D}" destId="{D234F7AD-8FF5-D54E-BD2E-8A561E2394B9}" srcOrd="0" destOrd="0" presId="urn:microsoft.com/office/officeart/2008/layout/LinedList"/>
    <dgm:cxn modelId="{8FD5D431-E4EF-D249-B383-62B9E98C617E}" type="presParOf" srcId="{4493D1FA-882A-314A-AAD4-EB03DC166E9D}" destId="{3AB47FAB-7509-6346-8B1B-11085A1CDD75}" srcOrd="1" destOrd="0" presId="urn:microsoft.com/office/officeart/2008/layout/LinedList"/>
    <dgm:cxn modelId="{E14874C9-AB35-2E42-96AB-7D0FDAD283C3}" type="presParOf" srcId="{3AB47FAB-7509-6346-8B1B-11085A1CDD75}" destId="{551D5910-CE43-9147-A6EC-90B7EE3853D2}" srcOrd="0" destOrd="0" presId="urn:microsoft.com/office/officeart/2008/layout/LinedList"/>
    <dgm:cxn modelId="{17DA29B7-AC5E-6747-B01C-F0AB7FB44EA4}" type="presParOf" srcId="{3AB47FAB-7509-6346-8B1B-11085A1CDD75}" destId="{D4EBAB2D-C455-B745-9DC6-7C35D6A3C323}" srcOrd="1" destOrd="0" presId="urn:microsoft.com/office/officeart/2008/layout/LinedList"/>
    <dgm:cxn modelId="{8349089F-E358-9743-81E1-A391C6C2628D}" type="presParOf" srcId="{3AB47FAB-7509-6346-8B1B-11085A1CDD75}" destId="{8202DE08-F0F9-5345-A460-122E0BE05ACC}" srcOrd="2" destOrd="0" presId="urn:microsoft.com/office/officeart/2008/layout/LinedList"/>
    <dgm:cxn modelId="{56953FE1-3DF0-164F-AC2D-B93CE2000B50}" type="presParOf" srcId="{4493D1FA-882A-314A-AAD4-EB03DC166E9D}" destId="{53E7ED3B-28BF-B245-983D-051270F9A842}" srcOrd="2" destOrd="0" presId="urn:microsoft.com/office/officeart/2008/layout/LinedList"/>
    <dgm:cxn modelId="{3B050BED-651D-F640-BD54-5BCCDD741D51}" type="presParOf" srcId="{4493D1FA-882A-314A-AAD4-EB03DC166E9D}" destId="{13F03754-9B06-2244-AE7B-1AAA11BBC387}" srcOrd="3"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3</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A2FB7E38-09D9-7F47-9FED-C7729870AC6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2E537EED-B369-E140-960F-C55FC62FCA61}" type="presOf" srcId="{9DF463DA-C321-47BB-A748-44B5D722BDE4}" destId="{03D7DCAF-0535-410C-B056-000B4ED11701}" srcOrd="0" destOrd="0" presId="urn:microsoft.com/office/officeart/2005/8/layout/cycle2"/>
    <dgm:cxn modelId="{28544A95-37A0-2D4F-A2E5-5F9DA5641064}"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olour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2EBE6179-CCAA-43B4-99D0-D1FBD8338CDA}">
      <dgm:prSet custT="1"/>
      <dgm:spPr/>
      <dgm:t>
        <a:bodyPr/>
        <a:lstStyle/>
        <a:p>
          <a:pPr rtl="0"/>
          <a:r>
            <a:rPr lang="en-CA" sz="2400" dirty="0"/>
            <a:t>font colours</a:t>
          </a:r>
        </a:p>
      </dgm:t>
    </dgm:pt>
    <dgm:pt modelId="{CCE85E25-12D3-40B9-9060-C08805620193}" type="parTrans" cxnId="{664686B3-0591-457A-8E78-49FDEC1F11D0}">
      <dgm:prSet/>
      <dgm:spPr/>
      <dgm:t>
        <a:bodyPr/>
        <a:lstStyle/>
        <a:p>
          <a:endParaRPr lang="en-US"/>
        </a:p>
      </dgm:t>
    </dgm:pt>
    <dgm:pt modelId="{A3C2D95F-49C9-4903-9AEC-101A97E2106F}" type="sibTrans" cxnId="{664686B3-0591-457A-8E78-49FDEC1F11D0}">
      <dgm:prSet/>
      <dgm:spPr/>
      <dgm:t>
        <a:bodyPr/>
        <a:lstStyle/>
        <a:p>
          <a:endParaRPr lang="en-US"/>
        </a:p>
      </dgm:t>
    </dgm:pt>
    <dgm:pt modelId="{982763B2-4EB1-43A4-921A-B736A78FCF32}">
      <dgm:prSet/>
      <dgm:spPr/>
      <dgm:t>
        <a:bodyPr/>
        <a:lstStyle/>
        <a:p>
          <a:pPr rtl="0"/>
          <a:r>
            <a:rPr lang="en-CA" dirty="0"/>
            <a:t>arrows &amp; diamonds</a:t>
          </a:r>
        </a:p>
      </dgm:t>
    </dgm:pt>
    <dgm:pt modelId="{447C76E1-E241-4AD8-95A7-8441341F7E52}" type="parTrans" cxnId="{37786D6F-376D-4357-AE9D-6293CFB89315}">
      <dgm:prSet/>
      <dgm:spPr/>
      <dgm:t>
        <a:bodyPr/>
        <a:lstStyle/>
        <a:p>
          <a:endParaRPr lang="en-US"/>
        </a:p>
      </dgm:t>
    </dgm:pt>
    <dgm:pt modelId="{9E898410-BC78-493F-B118-B2C5E985B297}" type="sibTrans" cxnId="{37786D6F-376D-4357-AE9D-6293CFB89315}">
      <dgm:prSet/>
      <dgm:spPr/>
      <dgm:t>
        <a:bodyPr/>
        <a:lstStyle/>
        <a:p>
          <a:endParaRPr lang="en-US"/>
        </a:p>
      </dgm:t>
    </dgm:pt>
    <dgm:pt modelId="{23B50714-0509-4642-A7B1-89D393B513F5}">
      <dgm:prSet/>
      <dgm:spPr/>
      <dgm:t>
        <a:bodyPr/>
        <a:lstStyle/>
        <a:p>
          <a:pPr rtl="0"/>
          <a:r>
            <a:rPr lang="en-CA" dirty="0"/>
            <a:t>overrides</a:t>
          </a:r>
        </a:p>
      </dgm:t>
    </dgm:pt>
    <dgm:pt modelId="{04DE2E30-4ABD-D44A-91B7-D41C73905A4A}" type="parTrans" cxnId="{38D3E360-6B7F-3F4D-97AC-D16601442BD8}">
      <dgm:prSet/>
      <dgm:spPr/>
      <dgm:t>
        <a:bodyPr/>
        <a:lstStyle/>
        <a:p>
          <a:endParaRPr lang="en-CA"/>
        </a:p>
      </dgm:t>
    </dgm:pt>
    <dgm:pt modelId="{BD808240-02A6-B741-8242-1DD5D6CD3911}" type="sibTrans" cxnId="{38D3E360-6B7F-3F4D-97AC-D16601442BD8}">
      <dgm:prSet/>
      <dgm:spPr/>
      <dgm:t>
        <a:bodyPr/>
        <a:lstStyle/>
        <a:p>
          <a:endParaRPr lang="en-CA"/>
        </a:p>
      </dgm:t>
    </dgm:pt>
    <dgm:pt modelId="{91C9005D-057D-494E-8A8F-33EBAEA63E39}">
      <dgm:prSet/>
      <dgm:spPr/>
      <dgm:t>
        <a:bodyPr/>
        <a:lstStyle/>
        <a:p>
          <a:pPr rtl="0"/>
          <a:r>
            <a:rPr lang="en-CA" dirty="0"/>
            <a:t>contact &amp; other personal info</a:t>
          </a:r>
        </a:p>
      </dgm:t>
    </dgm:pt>
    <dgm:pt modelId="{D00A60DF-23E3-8548-A5AF-36F4ED07B048}" type="parTrans" cxnId="{2B23F4D3-3E3B-2745-BD66-2C627844B54D}">
      <dgm:prSet/>
      <dgm:spPr/>
      <dgm:t>
        <a:bodyPr/>
        <a:lstStyle/>
        <a:p>
          <a:endParaRPr lang="en-CA"/>
        </a:p>
      </dgm:t>
    </dgm:pt>
    <dgm:pt modelId="{82ACE0BA-A47F-244D-A099-EFA5B3BF9B20}" type="sibTrans" cxnId="{2B23F4D3-3E3B-2745-BD66-2C627844B54D}">
      <dgm:prSet/>
      <dgm:spPr/>
      <dgm:t>
        <a:bodyPr/>
        <a:lstStyle/>
        <a:p>
          <a:endParaRPr lang="en-CA"/>
        </a:p>
      </dgm:t>
    </dgm:pt>
    <dgm:pt modelId="{79EA1DF4-2E79-4E47-9205-2B9724EED28F}">
      <dgm:prSet custT="1"/>
      <dgm:spPr/>
      <dgm:t>
        <a:bodyPr/>
        <a:lstStyle/>
        <a:p>
          <a:pPr rtl="0"/>
          <a:r>
            <a:rPr lang="en-CA" sz="2400" dirty="0"/>
            <a:t>manual entry</a:t>
          </a:r>
        </a:p>
      </dgm:t>
    </dgm:pt>
    <dgm:pt modelId="{963380A3-4580-8C49-81CA-E5A6A0415CF3}" type="parTrans" cxnId="{90C02F80-0735-1645-8E06-46C41655E386}">
      <dgm:prSet/>
      <dgm:spPr/>
      <dgm:t>
        <a:bodyPr/>
        <a:lstStyle/>
        <a:p>
          <a:endParaRPr lang="en-CA"/>
        </a:p>
      </dgm:t>
    </dgm:pt>
    <dgm:pt modelId="{8A9F82E9-9D6B-D045-A71A-150CB955965F}" type="sibTrans" cxnId="{90C02F80-0735-1645-8E06-46C41655E386}">
      <dgm:prSet/>
      <dgm:spPr/>
      <dgm:t>
        <a:bodyPr/>
        <a:lstStyle/>
        <a:p>
          <a:endParaRPr lang="en-CA"/>
        </a:p>
      </dgm:t>
    </dgm:pt>
    <dgm:pt modelId="{B509FBEB-79F9-C84E-B6D4-57857BA75C69}" type="pres">
      <dgm:prSet presAssocID="{02BA0D8E-884F-D545-BFF7-95207C181DAB}" presName="vert0" presStyleCnt="0">
        <dgm:presLayoutVars>
          <dgm:dir/>
          <dgm:animOne val="branch"/>
          <dgm:animLvl val="lvl"/>
        </dgm:presLayoutVars>
      </dgm:prSet>
      <dgm:spPr/>
    </dgm:pt>
    <dgm:pt modelId="{C6FF1542-2E7B-5C42-88C4-0C80E422E68F}" type="pres">
      <dgm:prSet presAssocID="{CF0461F7-EC97-BB41-A574-9C1E3009EACC}" presName="thickLine" presStyleLbl="alignNode1" presStyleIdx="0" presStyleCnt="3"/>
      <dgm:spPr/>
    </dgm:pt>
    <dgm:pt modelId="{2B1154CC-2EBF-CC46-8E31-9F19E587529B}" type="pres">
      <dgm:prSet presAssocID="{CF0461F7-EC97-BB41-A574-9C1E3009EACC}" presName="horz1" presStyleCnt="0"/>
      <dgm:spPr/>
    </dgm:pt>
    <dgm:pt modelId="{8E624EF0-AE4A-3A45-A7AE-EB1809380F85}" type="pres">
      <dgm:prSet presAssocID="{CF0461F7-EC97-BB41-A574-9C1E3009EACC}" presName="tx1" presStyleLbl="revTx" presStyleIdx="0" presStyleCnt="6"/>
      <dgm:spPr/>
    </dgm:pt>
    <dgm:pt modelId="{A2B7F04C-18B2-EC43-8254-7B7C6A5E1B13}" type="pres">
      <dgm:prSet presAssocID="{CF0461F7-EC97-BB41-A574-9C1E3009EACC}" presName="vert1" presStyleCnt="0"/>
      <dgm:spPr/>
    </dgm:pt>
    <dgm:pt modelId="{B3D059DF-AEC1-394E-8E1D-1FA65C483A10}" type="pres">
      <dgm:prSet presAssocID="{2EBE6179-CCAA-43B4-99D0-D1FBD8338CDA}" presName="vertSpace2a" presStyleCnt="0"/>
      <dgm:spPr/>
    </dgm:pt>
    <dgm:pt modelId="{FF47A63E-1E53-E749-81BE-1AFFE9B00A11}" type="pres">
      <dgm:prSet presAssocID="{2EBE6179-CCAA-43B4-99D0-D1FBD8338CDA}" presName="horz2" presStyleCnt="0"/>
      <dgm:spPr/>
    </dgm:pt>
    <dgm:pt modelId="{E76ACFB0-97BE-6142-A232-52E067BA77A3}" type="pres">
      <dgm:prSet presAssocID="{2EBE6179-CCAA-43B4-99D0-D1FBD8338CDA}" presName="horzSpace2" presStyleCnt="0"/>
      <dgm:spPr/>
    </dgm:pt>
    <dgm:pt modelId="{41564782-82D5-4D48-B87E-5CCB77AF9194}" type="pres">
      <dgm:prSet presAssocID="{2EBE6179-CCAA-43B4-99D0-D1FBD8338CDA}" presName="tx2" presStyleLbl="revTx" presStyleIdx="1" presStyleCnt="6"/>
      <dgm:spPr/>
    </dgm:pt>
    <dgm:pt modelId="{342C078C-D6CD-1F47-82F2-280D4D9DDF8C}" type="pres">
      <dgm:prSet presAssocID="{2EBE6179-CCAA-43B4-99D0-D1FBD8338CDA}" presName="vert2" presStyleCnt="0"/>
      <dgm:spPr/>
    </dgm:pt>
    <dgm:pt modelId="{7A24AA8E-5E3B-434E-B406-4C99DF830420}" type="pres">
      <dgm:prSet presAssocID="{2EBE6179-CCAA-43B4-99D0-D1FBD8338CDA}" presName="thinLine2b" presStyleLbl="callout" presStyleIdx="0" presStyleCnt="3"/>
      <dgm:spPr/>
    </dgm:pt>
    <dgm:pt modelId="{67581830-3C89-0547-851E-00FA03995058}" type="pres">
      <dgm:prSet presAssocID="{2EBE6179-CCAA-43B4-99D0-D1FBD8338CDA}" presName="vertSpace2b" presStyleCnt="0"/>
      <dgm:spPr/>
    </dgm:pt>
    <dgm:pt modelId="{C3E226D6-AB0E-0A47-8476-E077048575CE}" type="pres">
      <dgm:prSet presAssocID="{982763B2-4EB1-43A4-921A-B736A78FCF32}" presName="thickLine" presStyleLbl="alignNode1" presStyleIdx="1" presStyleCnt="3"/>
      <dgm:spPr/>
    </dgm:pt>
    <dgm:pt modelId="{A5852A97-28D1-8B41-BE8C-B78A4EACE158}" type="pres">
      <dgm:prSet presAssocID="{982763B2-4EB1-43A4-921A-B736A78FCF32}" presName="horz1" presStyleCnt="0"/>
      <dgm:spPr/>
    </dgm:pt>
    <dgm:pt modelId="{7BDFA852-3E71-F347-89E5-6A2D961549A4}" type="pres">
      <dgm:prSet presAssocID="{982763B2-4EB1-43A4-921A-B736A78FCF32}" presName="tx1" presStyleLbl="revTx" presStyleIdx="2" presStyleCnt="6"/>
      <dgm:spPr/>
    </dgm:pt>
    <dgm:pt modelId="{A7D2ED06-49C6-AB4A-B51A-309B8F827137}" type="pres">
      <dgm:prSet presAssocID="{982763B2-4EB1-43A4-921A-B736A78FCF32}" presName="vert1" presStyleCnt="0"/>
      <dgm:spPr/>
    </dgm:pt>
    <dgm:pt modelId="{FF0F5AF1-873D-574B-998A-D46ACA17BD6B}" type="pres">
      <dgm:prSet presAssocID="{91C9005D-057D-494E-8A8F-33EBAEA63E39}" presName="vertSpace2a" presStyleCnt="0"/>
      <dgm:spPr/>
    </dgm:pt>
    <dgm:pt modelId="{1B93ACF2-6FBA-3C4E-B0B0-DD6A3675D28F}" type="pres">
      <dgm:prSet presAssocID="{91C9005D-057D-494E-8A8F-33EBAEA63E39}" presName="horz2" presStyleCnt="0"/>
      <dgm:spPr/>
    </dgm:pt>
    <dgm:pt modelId="{D304D547-00B6-1C4C-827C-3957C4DF9FA8}" type="pres">
      <dgm:prSet presAssocID="{91C9005D-057D-494E-8A8F-33EBAEA63E39}" presName="horzSpace2" presStyleCnt="0"/>
      <dgm:spPr/>
    </dgm:pt>
    <dgm:pt modelId="{7660238F-A1FA-A74A-9AD2-6E7D3680B7B8}" type="pres">
      <dgm:prSet presAssocID="{91C9005D-057D-494E-8A8F-33EBAEA63E39}" presName="tx2" presStyleLbl="revTx" presStyleIdx="3" presStyleCnt="6"/>
      <dgm:spPr/>
    </dgm:pt>
    <dgm:pt modelId="{7716F0FD-EB01-1446-B568-ACCE8070FD45}" type="pres">
      <dgm:prSet presAssocID="{91C9005D-057D-494E-8A8F-33EBAEA63E39}" presName="vert2" presStyleCnt="0"/>
      <dgm:spPr/>
    </dgm:pt>
    <dgm:pt modelId="{3DDFD38F-9993-8A48-A859-64C21860D155}" type="pres">
      <dgm:prSet presAssocID="{91C9005D-057D-494E-8A8F-33EBAEA63E39}" presName="thinLine2b" presStyleLbl="callout" presStyleIdx="1" presStyleCnt="3"/>
      <dgm:spPr/>
    </dgm:pt>
    <dgm:pt modelId="{8AE6648C-E07A-724F-BC2B-B257C4AC52CC}" type="pres">
      <dgm:prSet presAssocID="{91C9005D-057D-494E-8A8F-33EBAEA63E39}" presName="vertSpace2b" presStyleCnt="0"/>
      <dgm:spPr/>
    </dgm:pt>
    <dgm:pt modelId="{66E00451-BF4D-4B4F-BC58-8078F9C13615}" type="pres">
      <dgm:prSet presAssocID="{23B50714-0509-4642-A7B1-89D393B513F5}" presName="thickLine" presStyleLbl="alignNode1" presStyleIdx="2" presStyleCnt="3"/>
      <dgm:spPr/>
    </dgm:pt>
    <dgm:pt modelId="{FF903B94-6A10-9144-909A-445AAB4EB8E9}" type="pres">
      <dgm:prSet presAssocID="{23B50714-0509-4642-A7B1-89D393B513F5}" presName="horz1" presStyleCnt="0"/>
      <dgm:spPr/>
    </dgm:pt>
    <dgm:pt modelId="{F52AAB79-7753-D24B-AD55-292C52119335}" type="pres">
      <dgm:prSet presAssocID="{23B50714-0509-4642-A7B1-89D393B513F5}" presName="tx1" presStyleLbl="revTx" presStyleIdx="4" presStyleCnt="6"/>
      <dgm:spPr/>
    </dgm:pt>
    <dgm:pt modelId="{913F6AB6-4465-6248-87CC-476DA6797147}" type="pres">
      <dgm:prSet presAssocID="{23B50714-0509-4642-A7B1-89D393B513F5}" presName="vert1" presStyleCnt="0"/>
      <dgm:spPr/>
    </dgm:pt>
    <dgm:pt modelId="{3FC39419-ED85-1846-A36E-C76BAAC469E5}" type="pres">
      <dgm:prSet presAssocID="{79EA1DF4-2E79-4E47-9205-2B9724EED28F}" presName="vertSpace2a" presStyleCnt="0"/>
      <dgm:spPr/>
    </dgm:pt>
    <dgm:pt modelId="{EAB3E76A-4554-A346-9AD4-DA75934F14C0}" type="pres">
      <dgm:prSet presAssocID="{79EA1DF4-2E79-4E47-9205-2B9724EED28F}" presName="horz2" presStyleCnt="0"/>
      <dgm:spPr/>
    </dgm:pt>
    <dgm:pt modelId="{BF1B9EAE-C568-654F-AA88-F6F6B5F492DF}" type="pres">
      <dgm:prSet presAssocID="{79EA1DF4-2E79-4E47-9205-2B9724EED28F}" presName="horzSpace2" presStyleCnt="0"/>
      <dgm:spPr/>
    </dgm:pt>
    <dgm:pt modelId="{6ADA6E5A-EFE3-EE4A-8B9F-C1FC789CEC7D}" type="pres">
      <dgm:prSet presAssocID="{79EA1DF4-2E79-4E47-9205-2B9724EED28F}" presName="tx2" presStyleLbl="revTx" presStyleIdx="5" presStyleCnt="6"/>
      <dgm:spPr/>
    </dgm:pt>
    <dgm:pt modelId="{B7491D8E-0CC3-764B-AF24-71216CB5C4F7}" type="pres">
      <dgm:prSet presAssocID="{79EA1DF4-2E79-4E47-9205-2B9724EED28F}" presName="vert2" presStyleCnt="0"/>
      <dgm:spPr/>
    </dgm:pt>
    <dgm:pt modelId="{FADA7291-A276-1A4A-9FA5-7BC30C6913BE}" type="pres">
      <dgm:prSet presAssocID="{79EA1DF4-2E79-4E47-9205-2B9724EED28F}" presName="thinLine2b" presStyleLbl="callout" presStyleIdx="2" presStyleCnt="3"/>
      <dgm:spPr/>
    </dgm:pt>
    <dgm:pt modelId="{517BDDC2-4356-1C49-8A66-AE79E50DC050}" type="pres">
      <dgm:prSet presAssocID="{79EA1DF4-2E79-4E47-9205-2B9724EED28F}" presName="vertSpace2b" presStyleCnt="0"/>
      <dgm:spPr/>
    </dgm:pt>
  </dgm:ptLst>
  <dgm:cxnLst>
    <dgm:cxn modelId="{6272810C-7ACB-B24C-A9F5-3BF98BFE6ACA}" type="presOf" srcId="{23B50714-0509-4642-A7B1-89D393B513F5}" destId="{F52AAB79-7753-D24B-AD55-292C52119335}" srcOrd="0" destOrd="0" presId="urn:microsoft.com/office/officeart/2008/layout/LinedList"/>
    <dgm:cxn modelId="{4AEA5D2D-449F-4C4F-A101-59E3CA8BB328}" type="presOf" srcId="{CF0461F7-EC97-BB41-A574-9C1E3009EACC}" destId="{8E624EF0-AE4A-3A45-A7AE-EB1809380F85}" srcOrd="0" destOrd="0" presId="urn:microsoft.com/office/officeart/2008/layout/LinedList"/>
    <dgm:cxn modelId="{DDCD1932-99B7-AD46-BE95-58F496070B76}" type="presOf" srcId="{91C9005D-057D-494E-8A8F-33EBAEA63E39}" destId="{7660238F-A1FA-A74A-9AD2-6E7D3680B7B8}" srcOrd="0" destOrd="0" presId="urn:microsoft.com/office/officeart/2008/layout/LinedList"/>
    <dgm:cxn modelId="{8F9BE954-B1CF-6F47-AECB-68F9985A8A93}" type="presOf" srcId="{79EA1DF4-2E79-4E47-9205-2B9724EED28F}" destId="{6ADA6E5A-EFE3-EE4A-8B9F-C1FC789CEC7D}" srcOrd="0" destOrd="0" presId="urn:microsoft.com/office/officeart/2008/layout/LinedList"/>
    <dgm:cxn modelId="{38D3E360-6B7F-3F4D-97AC-D16601442BD8}" srcId="{02BA0D8E-884F-D545-BFF7-95207C181DAB}" destId="{23B50714-0509-4642-A7B1-89D393B513F5}" srcOrd="2" destOrd="0" parTransId="{04DE2E30-4ABD-D44A-91B7-D41C73905A4A}" sibTransId="{BD808240-02A6-B741-8242-1DD5D6CD3911}"/>
    <dgm:cxn modelId="{37786D6F-376D-4357-AE9D-6293CFB89315}" srcId="{02BA0D8E-884F-D545-BFF7-95207C181DAB}" destId="{982763B2-4EB1-43A4-921A-B736A78FCF32}" srcOrd="1" destOrd="0" parTransId="{447C76E1-E241-4AD8-95A7-8441341F7E52}" sibTransId="{9E898410-BC78-493F-B118-B2C5E985B297}"/>
    <dgm:cxn modelId="{9CE7E27C-43B1-074A-9C22-823CF9EC1B1F}" type="presOf" srcId="{2EBE6179-CCAA-43B4-99D0-D1FBD8338CDA}" destId="{41564782-82D5-4D48-B87E-5CCB77AF9194}" srcOrd="0" destOrd="0" presId="urn:microsoft.com/office/officeart/2008/layout/LinedList"/>
    <dgm:cxn modelId="{90C02F80-0735-1645-8E06-46C41655E386}" srcId="{23B50714-0509-4642-A7B1-89D393B513F5}" destId="{79EA1DF4-2E79-4E47-9205-2B9724EED28F}" srcOrd="0" destOrd="0" parTransId="{963380A3-4580-8C49-81CA-E5A6A0415CF3}" sibTransId="{8A9F82E9-9D6B-D045-A71A-150CB955965F}"/>
    <dgm:cxn modelId="{674D6C8A-30E6-564D-9142-120BB4D947A9}" srcId="{02BA0D8E-884F-D545-BFF7-95207C181DAB}" destId="{CF0461F7-EC97-BB41-A574-9C1E3009EACC}" srcOrd="0" destOrd="0" parTransId="{B2C709E6-0566-4D4E-97EA-2EBE699D701F}" sibTransId="{ABC1C475-5434-1B41-BC48-ADC728C8CBF7}"/>
    <dgm:cxn modelId="{664686B3-0591-457A-8E78-49FDEC1F11D0}" srcId="{CF0461F7-EC97-BB41-A574-9C1E3009EACC}" destId="{2EBE6179-CCAA-43B4-99D0-D1FBD8338CDA}" srcOrd="0" destOrd="0" parTransId="{CCE85E25-12D3-40B9-9060-C08805620193}" sibTransId="{A3C2D95F-49C9-4903-9AEC-101A97E2106F}"/>
    <dgm:cxn modelId="{EF04AABE-FF22-1F4E-95A4-C62702568CFD}" type="presOf" srcId="{02BA0D8E-884F-D545-BFF7-95207C181DAB}" destId="{B509FBEB-79F9-C84E-B6D4-57857BA75C69}" srcOrd="0" destOrd="0" presId="urn:microsoft.com/office/officeart/2008/layout/LinedList"/>
    <dgm:cxn modelId="{2B23F4D3-3E3B-2745-BD66-2C627844B54D}" srcId="{982763B2-4EB1-43A4-921A-B736A78FCF32}" destId="{91C9005D-057D-494E-8A8F-33EBAEA63E39}" srcOrd="0" destOrd="0" parTransId="{D00A60DF-23E3-8548-A5AF-36F4ED07B048}" sibTransId="{82ACE0BA-A47F-244D-A099-EFA5B3BF9B20}"/>
    <dgm:cxn modelId="{6F7054E3-1D53-E547-8E54-418FE6BD579C}" type="presOf" srcId="{982763B2-4EB1-43A4-921A-B736A78FCF32}" destId="{7BDFA852-3E71-F347-89E5-6A2D961549A4}" srcOrd="0" destOrd="0" presId="urn:microsoft.com/office/officeart/2008/layout/LinedList"/>
    <dgm:cxn modelId="{2E226664-24BB-0D4F-BB2E-6C0D1D041315}" type="presParOf" srcId="{B509FBEB-79F9-C84E-B6D4-57857BA75C69}" destId="{C6FF1542-2E7B-5C42-88C4-0C80E422E68F}" srcOrd="0" destOrd="0" presId="urn:microsoft.com/office/officeart/2008/layout/LinedList"/>
    <dgm:cxn modelId="{9D96F424-01F2-AA46-9F92-A1A8FC4A4199}" type="presParOf" srcId="{B509FBEB-79F9-C84E-B6D4-57857BA75C69}" destId="{2B1154CC-2EBF-CC46-8E31-9F19E587529B}" srcOrd="1" destOrd="0" presId="urn:microsoft.com/office/officeart/2008/layout/LinedList"/>
    <dgm:cxn modelId="{7B2FF9C1-CD84-F646-B930-3DC2831388E3}" type="presParOf" srcId="{2B1154CC-2EBF-CC46-8E31-9F19E587529B}" destId="{8E624EF0-AE4A-3A45-A7AE-EB1809380F85}" srcOrd="0" destOrd="0" presId="urn:microsoft.com/office/officeart/2008/layout/LinedList"/>
    <dgm:cxn modelId="{B088789A-12B0-1140-AA70-AE5594660682}" type="presParOf" srcId="{2B1154CC-2EBF-CC46-8E31-9F19E587529B}" destId="{A2B7F04C-18B2-EC43-8254-7B7C6A5E1B13}" srcOrd="1" destOrd="0" presId="urn:microsoft.com/office/officeart/2008/layout/LinedList"/>
    <dgm:cxn modelId="{F0990276-B874-0548-81FF-3A1B4029B0FC}" type="presParOf" srcId="{A2B7F04C-18B2-EC43-8254-7B7C6A5E1B13}" destId="{B3D059DF-AEC1-394E-8E1D-1FA65C483A10}" srcOrd="0" destOrd="0" presId="urn:microsoft.com/office/officeart/2008/layout/LinedList"/>
    <dgm:cxn modelId="{141DA0B5-3502-5F4E-93A7-C81537558252}" type="presParOf" srcId="{A2B7F04C-18B2-EC43-8254-7B7C6A5E1B13}" destId="{FF47A63E-1E53-E749-81BE-1AFFE9B00A11}" srcOrd="1" destOrd="0" presId="urn:microsoft.com/office/officeart/2008/layout/LinedList"/>
    <dgm:cxn modelId="{B99428A4-5355-0E49-B4D5-2E8B2556BB69}" type="presParOf" srcId="{FF47A63E-1E53-E749-81BE-1AFFE9B00A11}" destId="{E76ACFB0-97BE-6142-A232-52E067BA77A3}" srcOrd="0" destOrd="0" presId="urn:microsoft.com/office/officeart/2008/layout/LinedList"/>
    <dgm:cxn modelId="{DB66E219-9FCB-6B4C-8E42-BC53F9008189}" type="presParOf" srcId="{FF47A63E-1E53-E749-81BE-1AFFE9B00A11}" destId="{41564782-82D5-4D48-B87E-5CCB77AF9194}" srcOrd="1" destOrd="0" presId="urn:microsoft.com/office/officeart/2008/layout/LinedList"/>
    <dgm:cxn modelId="{8DF8419A-53DA-1449-B37F-99685BB3184A}" type="presParOf" srcId="{FF47A63E-1E53-E749-81BE-1AFFE9B00A11}" destId="{342C078C-D6CD-1F47-82F2-280D4D9DDF8C}" srcOrd="2" destOrd="0" presId="urn:microsoft.com/office/officeart/2008/layout/LinedList"/>
    <dgm:cxn modelId="{FA65E8EF-8DCB-3341-B2C7-9DAF0FBCA717}" type="presParOf" srcId="{A2B7F04C-18B2-EC43-8254-7B7C6A5E1B13}" destId="{7A24AA8E-5E3B-434E-B406-4C99DF830420}" srcOrd="2" destOrd="0" presId="urn:microsoft.com/office/officeart/2008/layout/LinedList"/>
    <dgm:cxn modelId="{E1C018EB-94DF-3441-9AC1-C32FCDD92B5E}" type="presParOf" srcId="{A2B7F04C-18B2-EC43-8254-7B7C6A5E1B13}" destId="{67581830-3C89-0547-851E-00FA03995058}" srcOrd="3" destOrd="0" presId="urn:microsoft.com/office/officeart/2008/layout/LinedList"/>
    <dgm:cxn modelId="{267E949C-7BAE-9B42-AAEB-550378C361DB}" type="presParOf" srcId="{B509FBEB-79F9-C84E-B6D4-57857BA75C69}" destId="{C3E226D6-AB0E-0A47-8476-E077048575CE}" srcOrd="2" destOrd="0" presId="urn:microsoft.com/office/officeart/2008/layout/LinedList"/>
    <dgm:cxn modelId="{1CFF1AAD-0082-BC4D-914F-422E1D0CA16E}" type="presParOf" srcId="{B509FBEB-79F9-C84E-B6D4-57857BA75C69}" destId="{A5852A97-28D1-8B41-BE8C-B78A4EACE158}" srcOrd="3" destOrd="0" presId="urn:microsoft.com/office/officeart/2008/layout/LinedList"/>
    <dgm:cxn modelId="{2CDEA8D2-82FE-5546-A9C6-92B3EC73FE9E}" type="presParOf" srcId="{A5852A97-28D1-8B41-BE8C-B78A4EACE158}" destId="{7BDFA852-3E71-F347-89E5-6A2D961549A4}" srcOrd="0" destOrd="0" presId="urn:microsoft.com/office/officeart/2008/layout/LinedList"/>
    <dgm:cxn modelId="{2AB86EBB-0650-FF44-AF41-560D21223565}" type="presParOf" srcId="{A5852A97-28D1-8B41-BE8C-B78A4EACE158}" destId="{A7D2ED06-49C6-AB4A-B51A-309B8F827137}" srcOrd="1" destOrd="0" presId="urn:microsoft.com/office/officeart/2008/layout/LinedList"/>
    <dgm:cxn modelId="{1BF48F15-BC8D-774B-8C04-0085746B4BAB}" type="presParOf" srcId="{A7D2ED06-49C6-AB4A-B51A-309B8F827137}" destId="{FF0F5AF1-873D-574B-998A-D46ACA17BD6B}" srcOrd="0" destOrd="0" presId="urn:microsoft.com/office/officeart/2008/layout/LinedList"/>
    <dgm:cxn modelId="{4667F58A-EA9B-A64C-A201-81CA6CE70277}" type="presParOf" srcId="{A7D2ED06-49C6-AB4A-B51A-309B8F827137}" destId="{1B93ACF2-6FBA-3C4E-B0B0-DD6A3675D28F}" srcOrd="1" destOrd="0" presId="urn:microsoft.com/office/officeart/2008/layout/LinedList"/>
    <dgm:cxn modelId="{FE8C1893-0817-874E-B372-513D1568AC14}" type="presParOf" srcId="{1B93ACF2-6FBA-3C4E-B0B0-DD6A3675D28F}" destId="{D304D547-00B6-1C4C-827C-3957C4DF9FA8}" srcOrd="0" destOrd="0" presId="urn:microsoft.com/office/officeart/2008/layout/LinedList"/>
    <dgm:cxn modelId="{D401DD7F-A63C-124B-9F4B-272BD48FC8A5}" type="presParOf" srcId="{1B93ACF2-6FBA-3C4E-B0B0-DD6A3675D28F}" destId="{7660238F-A1FA-A74A-9AD2-6E7D3680B7B8}" srcOrd="1" destOrd="0" presId="urn:microsoft.com/office/officeart/2008/layout/LinedList"/>
    <dgm:cxn modelId="{68796617-3016-414B-A86D-BE66894497B0}" type="presParOf" srcId="{1B93ACF2-6FBA-3C4E-B0B0-DD6A3675D28F}" destId="{7716F0FD-EB01-1446-B568-ACCE8070FD45}" srcOrd="2" destOrd="0" presId="urn:microsoft.com/office/officeart/2008/layout/LinedList"/>
    <dgm:cxn modelId="{34789475-8948-4147-A4BF-D9960FB57ECE}" type="presParOf" srcId="{A7D2ED06-49C6-AB4A-B51A-309B8F827137}" destId="{3DDFD38F-9993-8A48-A859-64C21860D155}" srcOrd="2" destOrd="0" presId="urn:microsoft.com/office/officeart/2008/layout/LinedList"/>
    <dgm:cxn modelId="{F38FAD25-BBFF-4E4C-AB55-F57991F502A8}" type="presParOf" srcId="{A7D2ED06-49C6-AB4A-B51A-309B8F827137}" destId="{8AE6648C-E07A-724F-BC2B-B257C4AC52CC}" srcOrd="3" destOrd="0" presId="urn:microsoft.com/office/officeart/2008/layout/LinedList"/>
    <dgm:cxn modelId="{83C7342B-1E96-BC49-9B3F-C4760E578DB3}" type="presParOf" srcId="{B509FBEB-79F9-C84E-B6D4-57857BA75C69}" destId="{66E00451-BF4D-4B4F-BC58-8078F9C13615}" srcOrd="4" destOrd="0" presId="urn:microsoft.com/office/officeart/2008/layout/LinedList"/>
    <dgm:cxn modelId="{AC8F115E-F2FA-1546-9DE9-C191B0D6AE23}" type="presParOf" srcId="{B509FBEB-79F9-C84E-B6D4-57857BA75C69}" destId="{FF903B94-6A10-9144-909A-445AAB4EB8E9}" srcOrd="5" destOrd="0" presId="urn:microsoft.com/office/officeart/2008/layout/LinedList"/>
    <dgm:cxn modelId="{FFE807C4-3BD0-8E4F-9E58-7849F734954F}" type="presParOf" srcId="{FF903B94-6A10-9144-909A-445AAB4EB8E9}" destId="{F52AAB79-7753-D24B-AD55-292C52119335}" srcOrd="0" destOrd="0" presId="urn:microsoft.com/office/officeart/2008/layout/LinedList"/>
    <dgm:cxn modelId="{88D6E1C8-7ED7-5D45-80D6-8D8DC9E5B36E}" type="presParOf" srcId="{FF903B94-6A10-9144-909A-445AAB4EB8E9}" destId="{913F6AB6-4465-6248-87CC-476DA6797147}" srcOrd="1" destOrd="0" presId="urn:microsoft.com/office/officeart/2008/layout/LinedList"/>
    <dgm:cxn modelId="{AA0D0B24-EC70-F94D-AB98-0C2C6AC98EDB}" type="presParOf" srcId="{913F6AB6-4465-6248-87CC-476DA6797147}" destId="{3FC39419-ED85-1846-A36E-C76BAAC469E5}" srcOrd="0" destOrd="0" presId="urn:microsoft.com/office/officeart/2008/layout/LinedList"/>
    <dgm:cxn modelId="{00C2EB95-E318-9346-BEDA-5A22BADE4A31}" type="presParOf" srcId="{913F6AB6-4465-6248-87CC-476DA6797147}" destId="{EAB3E76A-4554-A346-9AD4-DA75934F14C0}" srcOrd="1" destOrd="0" presId="urn:microsoft.com/office/officeart/2008/layout/LinedList"/>
    <dgm:cxn modelId="{0B943B03-66E6-A742-B093-FDCB9DFE54A1}" type="presParOf" srcId="{EAB3E76A-4554-A346-9AD4-DA75934F14C0}" destId="{BF1B9EAE-C568-654F-AA88-F6F6B5F492DF}" srcOrd="0" destOrd="0" presId="urn:microsoft.com/office/officeart/2008/layout/LinedList"/>
    <dgm:cxn modelId="{81D9EBF1-C978-BB4A-926B-E3DFFEEB8152}" type="presParOf" srcId="{EAB3E76A-4554-A346-9AD4-DA75934F14C0}" destId="{6ADA6E5A-EFE3-EE4A-8B9F-C1FC789CEC7D}" srcOrd="1" destOrd="0" presId="urn:microsoft.com/office/officeart/2008/layout/LinedList"/>
    <dgm:cxn modelId="{17F552EC-208C-5049-9EC6-46DB9175518E}" type="presParOf" srcId="{EAB3E76A-4554-A346-9AD4-DA75934F14C0}" destId="{B7491D8E-0CC3-764B-AF24-71216CB5C4F7}" srcOrd="2" destOrd="0" presId="urn:microsoft.com/office/officeart/2008/layout/LinedList"/>
    <dgm:cxn modelId="{D61F294A-B10C-EA44-8990-0D1FDC97AA4A}" type="presParOf" srcId="{913F6AB6-4465-6248-87CC-476DA6797147}" destId="{FADA7291-A276-1A4A-9FA5-7BC30C6913BE}" srcOrd="2" destOrd="0" presId="urn:microsoft.com/office/officeart/2008/layout/LinedList"/>
    <dgm:cxn modelId="{2CE30246-43AB-E443-9D9B-3C42183F241D}" type="presParOf" srcId="{913F6AB6-4465-6248-87CC-476DA6797147}" destId="{517BDDC2-4356-1C49-8A66-AE79E50DC050}" srcOrd="3"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a:t>
          </a:r>
        </a:p>
        <a:p>
          <a:r>
            <a:rPr lang="en-US" dirty="0"/>
            <a:t>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F55EB4C-FDB8-9848-B401-87BBB360160D}" type="presOf" srcId="{5D62F0D9-F62E-470E-86C1-99BBA8E85072}" destId="{8A46F5DD-BBB3-4FA2-8F4F-67830FF58BA8}" srcOrd="0" destOrd="0" presId="urn:microsoft.com/office/officeart/2005/8/layout/cycle2"/>
    <dgm:cxn modelId="{67C50CC2-D522-9A4A-ABAD-E2C565AEC768}"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F4F03336-9B44-754D-84D4-04C5C0E6B76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emo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2EBE6179-CCAA-43B4-99D0-D1FBD8338CDA}">
      <dgm:prSet custT="1"/>
      <dgm:spPr/>
      <dgm:t>
        <a:bodyPr/>
        <a:lstStyle/>
        <a:p>
          <a:pPr rtl="0"/>
          <a:r>
            <a:rPr lang="en-CA" sz="2400" dirty="0"/>
            <a:t>entering notes</a:t>
          </a:r>
        </a:p>
      </dgm:t>
    </dgm:pt>
    <dgm:pt modelId="{CCE85E25-12D3-40B9-9060-C08805620193}" type="parTrans" cxnId="{664686B3-0591-457A-8E78-49FDEC1F11D0}">
      <dgm:prSet/>
      <dgm:spPr/>
      <dgm:t>
        <a:bodyPr/>
        <a:lstStyle/>
        <a:p>
          <a:endParaRPr lang="en-US"/>
        </a:p>
      </dgm:t>
    </dgm:pt>
    <dgm:pt modelId="{A3C2D95F-49C9-4903-9AEC-101A97E2106F}" type="sibTrans" cxnId="{664686B3-0591-457A-8E78-49FDEC1F11D0}">
      <dgm:prSet/>
      <dgm:spPr/>
      <dgm:t>
        <a:bodyPr/>
        <a:lstStyle/>
        <a:p>
          <a:endParaRPr lang="en-US"/>
        </a:p>
      </dgm:t>
    </dgm:pt>
    <dgm:pt modelId="{982763B2-4EB1-43A4-921A-B736A78FCF32}">
      <dgm:prSet/>
      <dgm:spPr/>
      <dgm:t>
        <a:bodyPr/>
        <a:lstStyle/>
        <a:p>
          <a:pPr rtl="0"/>
          <a:r>
            <a:rPr lang="en-CA" dirty="0"/>
            <a:t>tapes</a:t>
          </a:r>
        </a:p>
      </dgm:t>
    </dgm:pt>
    <dgm:pt modelId="{447C76E1-E241-4AD8-95A7-8441341F7E52}" type="parTrans" cxnId="{37786D6F-376D-4357-AE9D-6293CFB89315}">
      <dgm:prSet/>
      <dgm:spPr/>
      <dgm:t>
        <a:bodyPr/>
        <a:lstStyle/>
        <a:p>
          <a:endParaRPr lang="en-US"/>
        </a:p>
      </dgm:t>
    </dgm:pt>
    <dgm:pt modelId="{9E898410-BC78-493F-B118-B2C5E985B297}" type="sibTrans" cxnId="{37786D6F-376D-4357-AE9D-6293CFB89315}">
      <dgm:prSet/>
      <dgm:spPr/>
      <dgm:t>
        <a:bodyPr/>
        <a:lstStyle/>
        <a:p>
          <a:endParaRPr lang="en-US"/>
        </a:p>
      </dgm:t>
    </dgm:pt>
    <dgm:pt modelId="{91C9005D-057D-494E-8A8F-33EBAEA63E39}">
      <dgm:prSet custT="1"/>
      <dgm:spPr/>
      <dgm:t>
        <a:bodyPr/>
        <a:lstStyle/>
        <a:p>
          <a:pPr rtl="0"/>
          <a:r>
            <a:rPr lang="en-CA" sz="2400" dirty="0"/>
            <a:t>making calculations</a:t>
          </a:r>
        </a:p>
      </dgm:t>
    </dgm:pt>
    <dgm:pt modelId="{D00A60DF-23E3-8548-A5AF-36F4ED07B048}" type="parTrans" cxnId="{2B23F4D3-3E3B-2745-BD66-2C627844B54D}">
      <dgm:prSet/>
      <dgm:spPr/>
      <dgm:t>
        <a:bodyPr/>
        <a:lstStyle/>
        <a:p>
          <a:endParaRPr lang="en-CA"/>
        </a:p>
      </dgm:t>
    </dgm:pt>
    <dgm:pt modelId="{82ACE0BA-A47F-244D-A099-EFA5B3BF9B20}" type="sibTrans" cxnId="{2B23F4D3-3E3B-2745-BD66-2C627844B54D}">
      <dgm:prSet/>
      <dgm:spPr/>
      <dgm:t>
        <a:bodyPr/>
        <a:lstStyle/>
        <a:p>
          <a:endParaRPr lang="en-CA"/>
        </a:p>
      </dgm:t>
    </dgm:pt>
    <dgm:pt modelId="{8499C0CF-9F0D-DB41-938E-000BFB2329E6}" type="pres">
      <dgm:prSet presAssocID="{02BA0D8E-884F-D545-BFF7-95207C181DAB}" presName="vert0" presStyleCnt="0">
        <dgm:presLayoutVars>
          <dgm:dir/>
          <dgm:animOne val="branch"/>
          <dgm:animLvl val="lvl"/>
        </dgm:presLayoutVars>
      </dgm:prSet>
      <dgm:spPr/>
    </dgm:pt>
    <dgm:pt modelId="{5F835B30-1006-E140-A78F-164CFCFD06BA}" type="pres">
      <dgm:prSet presAssocID="{CF0461F7-EC97-BB41-A574-9C1E3009EACC}" presName="thickLine" presStyleLbl="alignNode1" presStyleIdx="0" presStyleCnt="2"/>
      <dgm:spPr/>
    </dgm:pt>
    <dgm:pt modelId="{34E106A1-26E6-4F4C-AFC9-AA4982A97F95}" type="pres">
      <dgm:prSet presAssocID="{CF0461F7-EC97-BB41-A574-9C1E3009EACC}" presName="horz1" presStyleCnt="0"/>
      <dgm:spPr/>
    </dgm:pt>
    <dgm:pt modelId="{BBE20673-6063-284D-A886-8ECC88A79E2A}" type="pres">
      <dgm:prSet presAssocID="{CF0461F7-EC97-BB41-A574-9C1E3009EACC}" presName="tx1" presStyleLbl="revTx" presStyleIdx="0" presStyleCnt="4"/>
      <dgm:spPr/>
    </dgm:pt>
    <dgm:pt modelId="{072C15CA-6055-A941-86F6-AF7F068483A2}" type="pres">
      <dgm:prSet presAssocID="{CF0461F7-EC97-BB41-A574-9C1E3009EACC}" presName="vert1" presStyleCnt="0"/>
      <dgm:spPr/>
    </dgm:pt>
    <dgm:pt modelId="{BBB10CF0-B9F2-494A-80B8-1D4FB63F9CC4}" type="pres">
      <dgm:prSet presAssocID="{2EBE6179-CCAA-43B4-99D0-D1FBD8338CDA}" presName="vertSpace2a" presStyleCnt="0"/>
      <dgm:spPr/>
    </dgm:pt>
    <dgm:pt modelId="{2704EC5A-68DD-C14A-8ED1-9E3263F05A3E}" type="pres">
      <dgm:prSet presAssocID="{2EBE6179-CCAA-43B4-99D0-D1FBD8338CDA}" presName="horz2" presStyleCnt="0"/>
      <dgm:spPr/>
    </dgm:pt>
    <dgm:pt modelId="{EF3D627D-2B09-1F46-BA20-6C22E5203B67}" type="pres">
      <dgm:prSet presAssocID="{2EBE6179-CCAA-43B4-99D0-D1FBD8338CDA}" presName="horzSpace2" presStyleCnt="0"/>
      <dgm:spPr/>
    </dgm:pt>
    <dgm:pt modelId="{E7D8F678-D3A1-D64B-9BAA-CA61016AE875}" type="pres">
      <dgm:prSet presAssocID="{2EBE6179-CCAA-43B4-99D0-D1FBD8338CDA}" presName="tx2" presStyleLbl="revTx" presStyleIdx="1" presStyleCnt="4"/>
      <dgm:spPr/>
    </dgm:pt>
    <dgm:pt modelId="{3EB29C32-BD41-1241-B7B3-3130528DE017}" type="pres">
      <dgm:prSet presAssocID="{2EBE6179-CCAA-43B4-99D0-D1FBD8338CDA}" presName="vert2" presStyleCnt="0"/>
      <dgm:spPr/>
    </dgm:pt>
    <dgm:pt modelId="{C3708BAE-CDAE-5246-A6E3-3FA47D468631}" type="pres">
      <dgm:prSet presAssocID="{2EBE6179-CCAA-43B4-99D0-D1FBD8338CDA}" presName="thinLine2b" presStyleLbl="callout" presStyleIdx="0" presStyleCnt="2"/>
      <dgm:spPr/>
    </dgm:pt>
    <dgm:pt modelId="{B9FC5E16-DA20-1342-B570-F69F44B34C87}" type="pres">
      <dgm:prSet presAssocID="{2EBE6179-CCAA-43B4-99D0-D1FBD8338CDA}" presName="vertSpace2b" presStyleCnt="0"/>
      <dgm:spPr/>
    </dgm:pt>
    <dgm:pt modelId="{4AD47A6F-A920-0046-8C7E-FCA19B5A6D75}" type="pres">
      <dgm:prSet presAssocID="{982763B2-4EB1-43A4-921A-B736A78FCF32}" presName="thickLine" presStyleLbl="alignNode1" presStyleIdx="1" presStyleCnt="2"/>
      <dgm:spPr/>
    </dgm:pt>
    <dgm:pt modelId="{9118E4F8-A637-4840-B852-B9EA2E958E52}" type="pres">
      <dgm:prSet presAssocID="{982763B2-4EB1-43A4-921A-B736A78FCF32}" presName="horz1" presStyleCnt="0"/>
      <dgm:spPr/>
    </dgm:pt>
    <dgm:pt modelId="{8927D857-4FE4-2249-9009-E4AE7BD8AA07}" type="pres">
      <dgm:prSet presAssocID="{982763B2-4EB1-43A4-921A-B736A78FCF32}" presName="tx1" presStyleLbl="revTx" presStyleIdx="2" presStyleCnt="4"/>
      <dgm:spPr/>
    </dgm:pt>
    <dgm:pt modelId="{FCD5A04E-C572-4842-B12B-66AF53D630AD}" type="pres">
      <dgm:prSet presAssocID="{982763B2-4EB1-43A4-921A-B736A78FCF32}" presName="vert1" presStyleCnt="0"/>
      <dgm:spPr/>
    </dgm:pt>
    <dgm:pt modelId="{795C2300-531A-D54A-98A2-BC6CBE2D7066}" type="pres">
      <dgm:prSet presAssocID="{91C9005D-057D-494E-8A8F-33EBAEA63E39}" presName="vertSpace2a" presStyleCnt="0"/>
      <dgm:spPr/>
    </dgm:pt>
    <dgm:pt modelId="{B2751128-09A0-7644-93F6-770D8EF7B74A}" type="pres">
      <dgm:prSet presAssocID="{91C9005D-057D-494E-8A8F-33EBAEA63E39}" presName="horz2" presStyleCnt="0"/>
      <dgm:spPr/>
    </dgm:pt>
    <dgm:pt modelId="{BEC88E4D-2259-7646-B4AE-5130B6B64C3C}" type="pres">
      <dgm:prSet presAssocID="{91C9005D-057D-494E-8A8F-33EBAEA63E39}" presName="horzSpace2" presStyleCnt="0"/>
      <dgm:spPr/>
    </dgm:pt>
    <dgm:pt modelId="{A7F98071-923F-7D4C-91F7-BA2AEB10B0B3}" type="pres">
      <dgm:prSet presAssocID="{91C9005D-057D-494E-8A8F-33EBAEA63E39}" presName="tx2" presStyleLbl="revTx" presStyleIdx="3" presStyleCnt="4"/>
      <dgm:spPr/>
    </dgm:pt>
    <dgm:pt modelId="{F0D4FDCB-D117-D54D-B311-BD414C60F0A4}" type="pres">
      <dgm:prSet presAssocID="{91C9005D-057D-494E-8A8F-33EBAEA63E39}" presName="vert2" presStyleCnt="0"/>
      <dgm:spPr/>
    </dgm:pt>
    <dgm:pt modelId="{D2D77D46-A0C2-B54C-85C0-442A3F683FD7}" type="pres">
      <dgm:prSet presAssocID="{91C9005D-057D-494E-8A8F-33EBAEA63E39}" presName="thinLine2b" presStyleLbl="callout" presStyleIdx="1" presStyleCnt="2"/>
      <dgm:spPr/>
    </dgm:pt>
    <dgm:pt modelId="{7E81600E-2E63-A740-927A-8053812A421A}" type="pres">
      <dgm:prSet presAssocID="{91C9005D-057D-494E-8A8F-33EBAEA63E39}" presName="vertSpace2b" presStyleCnt="0"/>
      <dgm:spPr/>
    </dgm:pt>
  </dgm:ptLst>
  <dgm:cxnLst>
    <dgm:cxn modelId="{8D7CFD1C-187B-9343-9875-61039752AC6E}" type="presOf" srcId="{91C9005D-057D-494E-8A8F-33EBAEA63E39}" destId="{A7F98071-923F-7D4C-91F7-BA2AEB10B0B3}" srcOrd="0" destOrd="0" presId="urn:microsoft.com/office/officeart/2008/layout/LinedList"/>
    <dgm:cxn modelId="{BDB4D731-A07D-0D4F-B41D-2C940E4EEB22}" type="presOf" srcId="{982763B2-4EB1-43A4-921A-B736A78FCF32}" destId="{8927D857-4FE4-2249-9009-E4AE7BD8AA07}" srcOrd="0" destOrd="0" presId="urn:microsoft.com/office/officeart/2008/layout/LinedList"/>
    <dgm:cxn modelId="{797C616A-F0D1-9F43-8A30-33FFD21C04E1}" type="presOf" srcId="{2EBE6179-CCAA-43B4-99D0-D1FBD8338CDA}" destId="{E7D8F678-D3A1-D64B-9BAA-CA61016AE875}" srcOrd="0" destOrd="0" presId="urn:microsoft.com/office/officeart/2008/layout/LinedList"/>
    <dgm:cxn modelId="{B6B24D6C-93B9-BC43-AB93-3F4AC3519C62}" type="presOf" srcId="{CF0461F7-EC97-BB41-A574-9C1E3009EACC}" destId="{BBE20673-6063-284D-A886-8ECC88A79E2A}" srcOrd="0" destOrd="0" presId="urn:microsoft.com/office/officeart/2008/layout/LinedList"/>
    <dgm:cxn modelId="{37786D6F-376D-4357-AE9D-6293CFB89315}" srcId="{02BA0D8E-884F-D545-BFF7-95207C181DAB}" destId="{982763B2-4EB1-43A4-921A-B736A78FCF32}" srcOrd="1" destOrd="0" parTransId="{447C76E1-E241-4AD8-95A7-8441341F7E52}" sibTransId="{9E898410-BC78-493F-B118-B2C5E985B297}"/>
    <dgm:cxn modelId="{BA8B9982-9EAF-EC4B-B51C-2AD4C2E6E834}" type="presOf" srcId="{02BA0D8E-884F-D545-BFF7-95207C181DAB}" destId="{8499C0CF-9F0D-DB41-938E-000BFB2329E6}"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664686B3-0591-457A-8E78-49FDEC1F11D0}" srcId="{CF0461F7-EC97-BB41-A574-9C1E3009EACC}" destId="{2EBE6179-CCAA-43B4-99D0-D1FBD8338CDA}" srcOrd="0" destOrd="0" parTransId="{CCE85E25-12D3-40B9-9060-C08805620193}" sibTransId="{A3C2D95F-49C9-4903-9AEC-101A97E2106F}"/>
    <dgm:cxn modelId="{2B23F4D3-3E3B-2745-BD66-2C627844B54D}" srcId="{982763B2-4EB1-43A4-921A-B736A78FCF32}" destId="{91C9005D-057D-494E-8A8F-33EBAEA63E39}" srcOrd="0" destOrd="0" parTransId="{D00A60DF-23E3-8548-A5AF-36F4ED07B048}" sibTransId="{82ACE0BA-A47F-244D-A099-EFA5B3BF9B20}"/>
    <dgm:cxn modelId="{9153509F-D9D4-3A48-B763-1FBD0DBE4594}" type="presParOf" srcId="{8499C0CF-9F0D-DB41-938E-000BFB2329E6}" destId="{5F835B30-1006-E140-A78F-164CFCFD06BA}" srcOrd="0" destOrd="0" presId="urn:microsoft.com/office/officeart/2008/layout/LinedList"/>
    <dgm:cxn modelId="{21758B21-AC29-9141-945F-AFE74DB7D5EF}" type="presParOf" srcId="{8499C0CF-9F0D-DB41-938E-000BFB2329E6}" destId="{34E106A1-26E6-4F4C-AFC9-AA4982A97F95}" srcOrd="1" destOrd="0" presId="urn:microsoft.com/office/officeart/2008/layout/LinedList"/>
    <dgm:cxn modelId="{017FE585-E8EA-B345-8A70-E8E1F023B736}" type="presParOf" srcId="{34E106A1-26E6-4F4C-AFC9-AA4982A97F95}" destId="{BBE20673-6063-284D-A886-8ECC88A79E2A}" srcOrd="0" destOrd="0" presId="urn:microsoft.com/office/officeart/2008/layout/LinedList"/>
    <dgm:cxn modelId="{5929FAD5-E209-2242-A8F5-458C3DEBFD8C}" type="presParOf" srcId="{34E106A1-26E6-4F4C-AFC9-AA4982A97F95}" destId="{072C15CA-6055-A941-86F6-AF7F068483A2}" srcOrd="1" destOrd="0" presId="urn:microsoft.com/office/officeart/2008/layout/LinedList"/>
    <dgm:cxn modelId="{86859F5B-9C56-9A43-AE3F-E59DC491BAEF}" type="presParOf" srcId="{072C15CA-6055-A941-86F6-AF7F068483A2}" destId="{BBB10CF0-B9F2-494A-80B8-1D4FB63F9CC4}" srcOrd="0" destOrd="0" presId="urn:microsoft.com/office/officeart/2008/layout/LinedList"/>
    <dgm:cxn modelId="{D5C33BA9-6478-444B-8A89-A404779F28FA}" type="presParOf" srcId="{072C15CA-6055-A941-86F6-AF7F068483A2}" destId="{2704EC5A-68DD-C14A-8ED1-9E3263F05A3E}" srcOrd="1" destOrd="0" presId="urn:microsoft.com/office/officeart/2008/layout/LinedList"/>
    <dgm:cxn modelId="{F60968A2-1927-A041-A67E-CD0B2E21EE12}" type="presParOf" srcId="{2704EC5A-68DD-C14A-8ED1-9E3263F05A3E}" destId="{EF3D627D-2B09-1F46-BA20-6C22E5203B67}" srcOrd="0" destOrd="0" presId="urn:microsoft.com/office/officeart/2008/layout/LinedList"/>
    <dgm:cxn modelId="{3D956C19-10E5-C148-93F6-D7748D0E3024}" type="presParOf" srcId="{2704EC5A-68DD-C14A-8ED1-9E3263F05A3E}" destId="{E7D8F678-D3A1-D64B-9BAA-CA61016AE875}" srcOrd="1" destOrd="0" presId="urn:microsoft.com/office/officeart/2008/layout/LinedList"/>
    <dgm:cxn modelId="{31D4FF2B-56BD-894F-BB36-1DB278603A06}" type="presParOf" srcId="{2704EC5A-68DD-C14A-8ED1-9E3263F05A3E}" destId="{3EB29C32-BD41-1241-B7B3-3130528DE017}" srcOrd="2" destOrd="0" presId="urn:microsoft.com/office/officeart/2008/layout/LinedList"/>
    <dgm:cxn modelId="{199274BC-C92B-3D44-BBA3-AB781C2B0B62}" type="presParOf" srcId="{072C15CA-6055-A941-86F6-AF7F068483A2}" destId="{C3708BAE-CDAE-5246-A6E3-3FA47D468631}" srcOrd="2" destOrd="0" presId="urn:microsoft.com/office/officeart/2008/layout/LinedList"/>
    <dgm:cxn modelId="{69141FC6-991C-954F-B201-569D9694436E}" type="presParOf" srcId="{072C15CA-6055-A941-86F6-AF7F068483A2}" destId="{B9FC5E16-DA20-1342-B570-F69F44B34C87}" srcOrd="3" destOrd="0" presId="urn:microsoft.com/office/officeart/2008/layout/LinedList"/>
    <dgm:cxn modelId="{3D28871A-BABA-E542-9D76-6DA10D95A3B3}" type="presParOf" srcId="{8499C0CF-9F0D-DB41-938E-000BFB2329E6}" destId="{4AD47A6F-A920-0046-8C7E-FCA19B5A6D75}" srcOrd="2" destOrd="0" presId="urn:microsoft.com/office/officeart/2008/layout/LinedList"/>
    <dgm:cxn modelId="{6890D3F6-78FE-1A4E-AEF0-AC4F964416C9}" type="presParOf" srcId="{8499C0CF-9F0D-DB41-938E-000BFB2329E6}" destId="{9118E4F8-A637-4840-B852-B9EA2E958E52}" srcOrd="3" destOrd="0" presId="urn:microsoft.com/office/officeart/2008/layout/LinedList"/>
    <dgm:cxn modelId="{74434CF4-9E36-AB40-8D1C-22B10E247F68}" type="presParOf" srcId="{9118E4F8-A637-4840-B852-B9EA2E958E52}" destId="{8927D857-4FE4-2249-9009-E4AE7BD8AA07}" srcOrd="0" destOrd="0" presId="urn:microsoft.com/office/officeart/2008/layout/LinedList"/>
    <dgm:cxn modelId="{070FF044-0EFE-F642-9A2A-75AC43352B92}" type="presParOf" srcId="{9118E4F8-A637-4840-B852-B9EA2E958E52}" destId="{FCD5A04E-C572-4842-B12B-66AF53D630AD}" srcOrd="1" destOrd="0" presId="urn:microsoft.com/office/officeart/2008/layout/LinedList"/>
    <dgm:cxn modelId="{87A859E1-54D6-CE4B-AF4F-6C58A0609E71}" type="presParOf" srcId="{FCD5A04E-C572-4842-B12B-66AF53D630AD}" destId="{795C2300-531A-D54A-98A2-BC6CBE2D7066}" srcOrd="0" destOrd="0" presId="urn:microsoft.com/office/officeart/2008/layout/LinedList"/>
    <dgm:cxn modelId="{65263FE2-B212-1848-B354-205E0B0BE734}" type="presParOf" srcId="{FCD5A04E-C572-4842-B12B-66AF53D630AD}" destId="{B2751128-09A0-7644-93F6-770D8EF7B74A}" srcOrd="1" destOrd="0" presId="urn:microsoft.com/office/officeart/2008/layout/LinedList"/>
    <dgm:cxn modelId="{0555A316-80D8-8A4D-A2EF-8A797E020A26}" type="presParOf" srcId="{B2751128-09A0-7644-93F6-770D8EF7B74A}" destId="{BEC88E4D-2259-7646-B4AE-5130B6B64C3C}" srcOrd="0" destOrd="0" presId="urn:microsoft.com/office/officeart/2008/layout/LinedList"/>
    <dgm:cxn modelId="{8661E519-9A11-AF49-AC08-B13C764F8789}" type="presParOf" srcId="{B2751128-09A0-7644-93F6-770D8EF7B74A}" destId="{A7F98071-923F-7D4C-91F7-BA2AEB10B0B3}" srcOrd="1" destOrd="0" presId="urn:microsoft.com/office/officeart/2008/layout/LinedList"/>
    <dgm:cxn modelId="{04DEA9BD-40CD-E54F-B264-0CC976A9B477}" type="presParOf" srcId="{B2751128-09A0-7644-93F6-770D8EF7B74A}" destId="{F0D4FDCB-D117-D54D-B311-BD414C60F0A4}" srcOrd="2" destOrd="0" presId="urn:microsoft.com/office/officeart/2008/layout/LinedList"/>
    <dgm:cxn modelId="{EAE2AB58-4874-B041-88C9-424F70A30A31}" type="presParOf" srcId="{FCD5A04E-C572-4842-B12B-66AF53D630AD}" destId="{D2D77D46-A0C2-B54C-85C0-442A3F683FD7}" srcOrd="2" destOrd="0" presId="urn:microsoft.com/office/officeart/2008/layout/LinedList"/>
    <dgm:cxn modelId="{3C67F27F-B5F3-1D43-8BCC-521D6548B7E2}" type="presParOf" srcId="{FCD5A04E-C572-4842-B12B-66AF53D630AD}" destId="{7E81600E-2E63-A740-927A-8053812A421A}" srcOrd="3"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7</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8875005-B10A-7440-8CCD-C56BEBBB575B}" type="presOf" srcId="{9DF463DA-C321-47BB-A748-44B5D722BDE4}" destId="{03D7DCAF-0535-410C-B056-000B4ED11701}" srcOrd="0" destOrd="0" presId="urn:microsoft.com/office/officeart/2005/8/layout/cycle2"/>
    <dgm:cxn modelId="{A4D3C5AB-319E-4B44-9BC5-9A0CB25B0F4D}"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5157ADFB-0CDC-3942-AB05-5C8A223D0F4C}"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custT="1"/>
      <dgm:spPr/>
      <dgm:t>
        <a:bodyPr/>
        <a:lstStyle/>
        <a:p>
          <a:pPr rtl="0"/>
          <a:r>
            <a:rPr lang="en-CA" sz="2400" dirty="0"/>
            <a:t>tabs</a:t>
          </a:r>
          <a:endParaRPr lang="en-CA" sz="1400" dirty="0"/>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2EBE6179-CCAA-43B4-99D0-D1FBD8338CDA}">
      <dgm:prSet custT="1"/>
      <dgm:spPr/>
      <dgm:t>
        <a:bodyPr/>
        <a:lstStyle/>
        <a:p>
          <a:pPr rtl="0"/>
          <a:r>
            <a:rPr lang="en-CA" sz="2400" dirty="0"/>
            <a:t>jump to </a:t>
          </a:r>
          <a:r>
            <a:rPr lang="en-CA" sz="2400" baseline="0" dirty="0"/>
            <a:t>forms</a:t>
          </a:r>
          <a:endParaRPr lang="en-CA" sz="2400" dirty="0"/>
        </a:p>
      </dgm:t>
    </dgm:pt>
    <dgm:pt modelId="{CCE85E25-12D3-40B9-9060-C08805620193}" type="parTrans" cxnId="{664686B3-0591-457A-8E78-49FDEC1F11D0}">
      <dgm:prSet/>
      <dgm:spPr/>
      <dgm:t>
        <a:bodyPr/>
        <a:lstStyle/>
        <a:p>
          <a:endParaRPr lang="en-US"/>
        </a:p>
      </dgm:t>
    </dgm:pt>
    <dgm:pt modelId="{A3C2D95F-49C9-4903-9AEC-101A97E2106F}" type="sibTrans" cxnId="{664686B3-0591-457A-8E78-49FDEC1F11D0}">
      <dgm:prSet/>
      <dgm:spPr/>
      <dgm:t>
        <a:bodyPr/>
        <a:lstStyle/>
        <a:p>
          <a:endParaRPr lang="en-US"/>
        </a:p>
      </dgm:t>
    </dgm:pt>
    <dgm:pt modelId="{982763B2-4EB1-43A4-921A-B736A78FCF32}">
      <dgm:prSet custT="1"/>
      <dgm:spPr/>
      <dgm:t>
        <a:bodyPr/>
        <a:lstStyle/>
        <a:p>
          <a:pPr rtl="0"/>
          <a:r>
            <a:rPr lang="en-CA" sz="1800" dirty="0"/>
            <a:t>menu bar</a:t>
          </a:r>
        </a:p>
      </dgm:t>
    </dgm:pt>
    <dgm:pt modelId="{447C76E1-E241-4AD8-95A7-8441341F7E52}" type="parTrans" cxnId="{37786D6F-376D-4357-AE9D-6293CFB89315}">
      <dgm:prSet/>
      <dgm:spPr/>
      <dgm:t>
        <a:bodyPr/>
        <a:lstStyle/>
        <a:p>
          <a:endParaRPr lang="en-US"/>
        </a:p>
      </dgm:t>
    </dgm:pt>
    <dgm:pt modelId="{9E898410-BC78-493F-B118-B2C5E985B297}" type="sibTrans" cxnId="{37786D6F-376D-4357-AE9D-6293CFB89315}">
      <dgm:prSet/>
      <dgm:spPr/>
      <dgm:t>
        <a:bodyPr/>
        <a:lstStyle/>
        <a:p>
          <a:endParaRPr lang="en-US"/>
        </a:p>
      </dgm:t>
    </dgm:pt>
    <dgm:pt modelId="{23B50714-0509-4642-A7B1-89D393B513F5}">
      <dgm:prSet custT="1"/>
      <dgm:spPr/>
      <dgm:t>
        <a:bodyPr/>
        <a:lstStyle/>
        <a:p>
          <a:pPr rtl="0"/>
          <a:r>
            <a:rPr lang="en-CA" sz="1400" dirty="0"/>
            <a:t>toolbars</a:t>
          </a:r>
        </a:p>
      </dgm:t>
    </dgm:pt>
    <dgm:pt modelId="{04DE2E30-4ABD-D44A-91B7-D41C73905A4A}" type="parTrans" cxnId="{38D3E360-6B7F-3F4D-97AC-D16601442BD8}">
      <dgm:prSet/>
      <dgm:spPr/>
      <dgm:t>
        <a:bodyPr/>
        <a:lstStyle/>
        <a:p>
          <a:endParaRPr lang="en-CA"/>
        </a:p>
      </dgm:t>
    </dgm:pt>
    <dgm:pt modelId="{BD808240-02A6-B741-8242-1DD5D6CD3911}" type="sibTrans" cxnId="{38D3E360-6B7F-3F4D-97AC-D16601442BD8}">
      <dgm:prSet/>
      <dgm:spPr/>
      <dgm:t>
        <a:bodyPr/>
        <a:lstStyle/>
        <a:p>
          <a:endParaRPr lang="en-CA"/>
        </a:p>
      </dgm:t>
    </dgm:pt>
    <dgm:pt modelId="{91C9005D-057D-494E-8A8F-33EBAEA63E39}">
      <dgm:prSet custT="1"/>
      <dgm:spPr/>
      <dgm:t>
        <a:bodyPr/>
        <a:lstStyle/>
        <a:p>
          <a:pPr rtl="0"/>
          <a:r>
            <a:rPr lang="en-CA" sz="2400" dirty="0"/>
            <a:t>manual navigation</a:t>
          </a:r>
        </a:p>
      </dgm:t>
    </dgm:pt>
    <dgm:pt modelId="{D00A60DF-23E3-8548-A5AF-36F4ED07B048}" type="parTrans" cxnId="{2B23F4D3-3E3B-2745-BD66-2C627844B54D}">
      <dgm:prSet/>
      <dgm:spPr/>
      <dgm:t>
        <a:bodyPr/>
        <a:lstStyle/>
        <a:p>
          <a:endParaRPr lang="en-CA"/>
        </a:p>
      </dgm:t>
    </dgm:pt>
    <dgm:pt modelId="{82ACE0BA-A47F-244D-A099-EFA5B3BF9B20}" type="sibTrans" cxnId="{2B23F4D3-3E3B-2745-BD66-2C627844B54D}">
      <dgm:prSet/>
      <dgm:spPr/>
      <dgm:t>
        <a:bodyPr/>
        <a:lstStyle/>
        <a:p>
          <a:endParaRPr lang="en-CA"/>
        </a:p>
      </dgm:t>
    </dgm:pt>
    <dgm:pt modelId="{79EA1DF4-2E79-4E47-9205-2B9724EED28F}">
      <dgm:prSet custT="1"/>
      <dgm:spPr/>
      <dgm:t>
        <a:bodyPr/>
        <a:lstStyle/>
        <a:p>
          <a:pPr rtl="0"/>
          <a:r>
            <a:rPr lang="en-CA" sz="2400" dirty="0"/>
            <a:t>quick icons</a:t>
          </a:r>
        </a:p>
      </dgm:t>
    </dgm:pt>
    <dgm:pt modelId="{963380A3-4580-8C49-81CA-E5A6A0415CF3}" type="parTrans" cxnId="{90C02F80-0735-1645-8E06-46C41655E386}">
      <dgm:prSet/>
      <dgm:spPr/>
      <dgm:t>
        <a:bodyPr/>
        <a:lstStyle/>
        <a:p>
          <a:endParaRPr lang="en-CA"/>
        </a:p>
      </dgm:t>
    </dgm:pt>
    <dgm:pt modelId="{8A9F82E9-9D6B-D045-A71A-150CB955965F}" type="sibTrans" cxnId="{90C02F80-0735-1645-8E06-46C41655E386}">
      <dgm:prSet/>
      <dgm:spPr/>
      <dgm:t>
        <a:bodyPr/>
        <a:lstStyle/>
        <a:p>
          <a:endParaRPr lang="en-CA"/>
        </a:p>
      </dgm:t>
    </dgm:pt>
    <dgm:pt modelId="{3A9D9B14-D800-4342-A44E-B26D81AACF9D}" type="pres">
      <dgm:prSet presAssocID="{02BA0D8E-884F-D545-BFF7-95207C181DAB}" presName="vert0" presStyleCnt="0">
        <dgm:presLayoutVars>
          <dgm:dir/>
          <dgm:animOne val="branch"/>
          <dgm:animLvl val="lvl"/>
        </dgm:presLayoutVars>
      </dgm:prSet>
      <dgm:spPr/>
    </dgm:pt>
    <dgm:pt modelId="{A5D28E29-061B-E94E-BEF6-6A2C91CE9F28}" type="pres">
      <dgm:prSet presAssocID="{CF0461F7-EC97-BB41-A574-9C1E3009EACC}" presName="thickLine" presStyleLbl="alignNode1" presStyleIdx="0" presStyleCnt="3"/>
      <dgm:spPr/>
    </dgm:pt>
    <dgm:pt modelId="{CA46D2AB-AF3B-3F40-A0D8-305C75936544}" type="pres">
      <dgm:prSet presAssocID="{CF0461F7-EC97-BB41-A574-9C1E3009EACC}" presName="horz1" presStyleCnt="0"/>
      <dgm:spPr/>
    </dgm:pt>
    <dgm:pt modelId="{AEE9D810-E335-0D45-9353-23CDBEAA1606}" type="pres">
      <dgm:prSet presAssocID="{CF0461F7-EC97-BB41-A574-9C1E3009EACC}" presName="tx1" presStyleLbl="revTx" presStyleIdx="0" presStyleCnt="6"/>
      <dgm:spPr/>
    </dgm:pt>
    <dgm:pt modelId="{B1445EA1-A72D-1F44-B3B4-462F1A426DFB}" type="pres">
      <dgm:prSet presAssocID="{CF0461F7-EC97-BB41-A574-9C1E3009EACC}" presName="vert1" presStyleCnt="0"/>
      <dgm:spPr/>
    </dgm:pt>
    <dgm:pt modelId="{2EFE7497-A08C-3D4A-A3D5-00AAA4059FF5}" type="pres">
      <dgm:prSet presAssocID="{2EBE6179-CCAA-43B4-99D0-D1FBD8338CDA}" presName="vertSpace2a" presStyleCnt="0"/>
      <dgm:spPr/>
    </dgm:pt>
    <dgm:pt modelId="{D376DA78-A273-EB4D-9EBE-125977340326}" type="pres">
      <dgm:prSet presAssocID="{2EBE6179-CCAA-43B4-99D0-D1FBD8338CDA}" presName="horz2" presStyleCnt="0"/>
      <dgm:spPr/>
    </dgm:pt>
    <dgm:pt modelId="{286BB57C-8658-DB43-92EB-5DB444762375}" type="pres">
      <dgm:prSet presAssocID="{2EBE6179-CCAA-43B4-99D0-D1FBD8338CDA}" presName="horzSpace2" presStyleCnt="0"/>
      <dgm:spPr/>
    </dgm:pt>
    <dgm:pt modelId="{21D13B0D-5C15-7C42-85B3-A56421F37580}" type="pres">
      <dgm:prSet presAssocID="{2EBE6179-CCAA-43B4-99D0-D1FBD8338CDA}" presName="tx2" presStyleLbl="revTx" presStyleIdx="1" presStyleCnt="6"/>
      <dgm:spPr/>
    </dgm:pt>
    <dgm:pt modelId="{A448171C-461F-3A40-A62F-B2A710DA651B}" type="pres">
      <dgm:prSet presAssocID="{2EBE6179-CCAA-43B4-99D0-D1FBD8338CDA}" presName="vert2" presStyleCnt="0"/>
      <dgm:spPr/>
    </dgm:pt>
    <dgm:pt modelId="{CFADBA98-CAB5-EE42-98BA-734B9A2E6858}" type="pres">
      <dgm:prSet presAssocID="{2EBE6179-CCAA-43B4-99D0-D1FBD8338CDA}" presName="thinLine2b" presStyleLbl="callout" presStyleIdx="0" presStyleCnt="3"/>
      <dgm:spPr/>
    </dgm:pt>
    <dgm:pt modelId="{6654346B-3482-DC4A-8EAD-F3F7D97FB89B}" type="pres">
      <dgm:prSet presAssocID="{2EBE6179-CCAA-43B4-99D0-D1FBD8338CDA}" presName="vertSpace2b" presStyleCnt="0"/>
      <dgm:spPr/>
    </dgm:pt>
    <dgm:pt modelId="{FB76D73E-7843-0547-AB26-DB385CD70AE5}" type="pres">
      <dgm:prSet presAssocID="{982763B2-4EB1-43A4-921A-B736A78FCF32}" presName="thickLine" presStyleLbl="alignNode1" presStyleIdx="1" presStyleCnt="3"/>
      <dgm:spPr/>
    </dgm:pt>
    <dgm:pt modelId="{689046B2-BF96-6643-A4C7-B2A507B5D1FD}" type="pres">
      <dgm:prSet presAssocID="{982763B2-4EB1-43A4-921A-B736A78FCF32}" presName="horz1" presStyleCnt="0"/>
      <dgm:spPr/>
    </dgm:pt>
    <dgm:pt modelId="{08481F58-CFA6-F949-9FF4-6F05BE2C7979}" type="pres">
      <dgm:prSet presAssocID="{982763B2-4EB1-43A4-921A-B736A78FCF32}" presName="tx1" presStyleLbl="revTx" presStyleIdx="2" presStyleCnt="6"/>
      <dgm:spPr/>
    </dgm:pt>
    <dgm:pt modelId="{BE77EBD6-C63B-2044-A027-29622FFDE904}" type="pres">
      <dgm:prSet presAssocID="{982763B2-4EB1-43A4-921A-B736A78FCF32}" presName="vert1" presStyleCnt="0"/>
      <dgm:spPr/>
    </dgm:pt>
    <dgm:pt modelId="{6775EC3E-74A1-3941-A87E-92A21EC9ACAF}" type="pres">
      <dgm:prSet presAssocID="{91C9005D-057D-494E-8A8F-33EBAEA63E39}" presName="vertSpace2a" presStyleCnt="0"/>
      <dgm:spPr/>
    </dgm:pt>
    <dgm:pt modelId="{482FCCF9-A5C5-1B47-A155-5115D8BADC3E}" type="pres">
      <dgm:prSet presAssocID="{91C9005D-057D-494E-8A8F-33EBAEA63E39}" presName="horz2" presStyleCnt="0"/>
      <dgm:spPr/>
    </dgm:pt>
    <dgm:pt modelId="{92A857ED-DF74-AA46-A87D-2069309C9395}" type="pres">
      <dgm:prSet presAssocID="{91C9005D-057D-494E-8A8F-33EBAEA63E39}" presName="horzSpace2" presStyleCnt="0"/>
      <dgm:spPr/>
    </dgm:pt>
    <dgm:pt modelId="{1D95F3B1-18C4-744B-9D5B-B4AEB4CB7E78}" type="pres">
      <dgm:prSet presAssocID="{91C9005D-057D-494E-8A8F-33EBAEA63E39}" presName="tx2" presStyleLbl="revTx" presStyleIdx="3" presStyleCnt="6"/>
      <dgm:spPr/>
    </dgm:pt>
    <dgm:pt modelId="{3E4AA525-83DB-614F-BBC6-5160C63810EA}" type="pres">
      <dgm:prSet presAssocID="{91C9005D-057D-494E-8A8F-33EBAEA63E39}" presName="vert2" presStyleCnt="0"/>
      <dgm:spPr/>
    </dgm:pt>
    <dgm:pt modelId="{C9DE5BE9-00BC-7B41-BF01-71C4ADABF9B9}" type="pres">
      <dgm:prSet presAssocID="{91C9005D-057D-494E-8A8F-33EBAEA63E39}" presName="thinLine2b" presStyleLbl="callout" presStyleIdx="1" presStyleCnt="3"/>
      <dgm:spPr/>
    </dgm:pt>
    <dgm:pt modelId="{A89E2E33-9D8D-9C4D-AE16-2D3C5FCD9D91}" type="pres">
      <dgm:prSet presAssocID="{91C9005D-057D-494E-8A8F-33EBAEA63E39}" presName="vertSpace2b" presStyleCnt="0"/>
      <dgm:spPr/>
    </dgm:pt>
    <dgm:pt modelId="{AB79A44A-8B97-664B-928E-FAB4E02025BD}" type="pres">
      <dgm:prSet presAssocID="{23B50714-0509-4642-A7B1-89D393B513F5}" presName="thickLine" presStyleLbl="alignNode1" presStyleIdx="2" presStyleCnt="3"/>
      <dgm:spPr/>
    </dgm:pt>
    <dgm:pt modelId="{F9146254-CAA7-1640-9EF8-E941D35BA2F3}" type="pres">
      <dgm:prSet presAssocID="{23B50714-0509-4642-A7B1-89D393B513F5}" presName="horz1" presStyleCnt="0"/>
      <dgm:spPr/>
    </dgm:pt>
    <dgm:pt modelId="{DF9D35E7-33C9-D448-BFC7-5795D5307244}" type="pres">
      <dgm:prSet presAssocID="{23B50714-0509-4642-A7B1-89D393B513F5}" presName="tx1" presStyleLbl="revTx" presStyleIdx="4" presStyleCnt="6"/>
      <dgm:spPr/>
    </dgm:pt>
    <dgm:pt modelId="{0267B9C1-F546-2842-8D80-DE15A6DD5C1E}" type="pres">
      <dgm:prSet presAssocID="{23B50714-0509-4642-A7B1-89D393B513F5}" presName="vert1" presStyleCnt="0"/>
      <dgm:spPr/>
    </dgm:pt>
    <dgm:pt modelId="{45F1F7F3-886C-B34C-934E-514323EA6D96}" type="pres">
      <dgm:prSet presAssocID="{79EA1DF4-2E79-4E47-9205-2B9724EED28F}" presName="vertSpace2a" presStyleCnt="0"/>
      <dgm:spPr/>
    </dgm:pt>
    <dgm:pt modelId="{7C444086-1713-2D4E-9059-86B7E011ADCD}" type="pres">
      <dgm:prSet presAssocID="{79EA1DF4-2E79-4E47-9205-2B9724EED28F}" presName="horz2" presStyleCnt="0"/>
      <dgm:spPr/>
    </dgm:pt>
    <dgm:pt modelId="{3227B7BD-CE91-D44E-A92C-268C7FAC9FD7}" type="pres">
      <dgm:prSet presAssocID="{79EA1DF4-2E79-4E47-9205-2B9724EED28F}" presName="horzSpace2" presStyleCnt="0"/>
      <dgm:spPr/>
    </dgm:pt>
    <dgm:pt modelId="{DB88A68E-D461-984A-B5F6-9A1FCBC63369}" type="pres">
      <dgm:prSet presAssocID="{79EA1DF4-2E79-4E47-9205-2B9724EED28F}" presName="tx2" presStyleLbl="revTx" presStyleIdx="5" presStyleCnt="6"/>
      <dgm:spPr/>
    </dgm:pt>
    <dgm:pt modelId="{E97E193C-4BDE-2549-BD04-50D1CB04CA04}" type="pres">
      <dgm:prSet presAssocID="{79EA1DF4-2E79-4E47-9205-2B9724EED28F}" presName="vert2" presStyleCnt="0"/>
      <dgm:spPr/>
    </dgm:pt>
    <dgm:pt modelId="{B95024A5-56A9-1B4C-A70F-A64DEF7556DA}" type="pres">
      <dgm:prSet presAssocID="{79EA1DF4-2E79-4E47-9205-2B9724EED28F}" presName="thinLine2b" presStyleLbl="callout" presStyleIdx="2" presStyleCnt="3"/>
      <dgm:spPr/>
    </dgm:pt>
    <dgm:pt modelId="{93E4382A-8103-ED46-B239-8F28B29B9624}" type="pres">
      <dgm:prSet presAssocID="{79EA1DF4-2E79-4E47-9205-2B9724EED28F}" presName="vertSpace2b" presStyleCnt="0"/>
      <dgm:spPr/>
    </dgm:pt>
  </dgm:ptLst>
  <dgm:cxnLst>
    <dgm:cxn modelId="{5D318C14-C7E2-2D45-8031-8CC5E30E6D08}" type="presOf" srcId="{91C9005D-057D-494E-8A8F-33EBAEA63E39}" destId="{1D95F3B1-18C4-744B-9D5B-B4AEB4CB7E78}" srcOrd="0" destOrd="0" presId="urn:microsoft.com/office/officeart/2008/layout/LinedList"/>
    <dgm:cxn modelId="{D10FD230-2319-9840-A899-22609FA991D7}" type="presOf" srcId="{02BA0D8E-884F-D545-BFF7-95207C181DAB}" destId="{3A9D9B14-D800-4342-A44E-B26D81AACF9D}" srcOrd="0" destOrd="0" presId="urn:microsoft.com/office/officeart/2008/layout/LinedList"/>
    <dgm:cxn modelId="{130EAC38-D323-3A40-81B7-19BF1AD1C965}" type="presOf" srcId="{2EBE6179-CCAA-43B4-99D0-D1FBD8338CDA}" destId="{21D13B0D-5C15-7C42-85B3-A56421F37580}" srcOrd="0" destOrd="0" presId="urn:microsoft.com/office/officeart/2008/layout/LinedList"/>
    <dgm:cxn modelId="{93136540-2F0F-9B4C-8B2C-7739532B6AF5}" type="presOf" srcId="{982763B2-4EB1-43A4-921A-B736A78FCF32}" destId="{08481F58-CFA6-F949-9FF4-6F05BE2C7979}" srcOrd="0" destOrd="0" presId="urn:microsoft.com/office/officeart/2008/layout/LinedList"/>
    <dgm:cxn modelId="{38D3E360-6B7F-3F4D-97AC-D16601442BD8}" srcId="{02BA0D8E-884F-D545-BFF7-95207C181DAB}" destId="{23B50714-0509-4642-A7B1-89D393B513F5}" srcOrd="2" destOrd="0" parTransId="{04DE2E30-4ABD-D44A-91B7-D41C73905A4A}" sibTransId="{BD808240-02A6-B741-8242-1DD5D6CD3911}"/>
    <dgm:cxn modelId="{37786D6F-376D-4357-AE9D-6293CFB89315}" srcId="{02BA0D8E-884F-D545-BFF7-95207C181DAB}" destId="{982763B2-4EB1-43A4-921A-B736A78FCF32}" srcOrd="1" destOrd="0" parTransId="{447C76E1-E241-4AD8-95A7-8441341F7E52}" sibTransId="{9E898410-BC78-493F-B118-B2C5E985B297}"/>
    <dgm:cxn modelId="{9A027A70-D3D9-5643-9C4C-09B0360DB69C}" type="presOf" srcId="{CF0461F7-EC97-BB41-A574-9C1E3009EACC}" destId="{AEE9D810-E335-0D45-9353-23CDBEAA1606}" srcOrd="0" destOrd="0" presId="urn:microsoft.com/office/officeart/2008/layout/LinedList"/>
    <dgm:cxn modelId="{90C02F80-0735-1645-8E06-46C41655E386}" srcId="{23B50714-0509-4642-A7B1-89D393B513F5}" destId="{79EA1DF4-2E79-4E47-9205-2B9724EED28F}" srcOrd="0" destOrd="0" parTransId="{963380A3-4580-8C49-81CA-E5A6A0415CF3}" sibTransId="{8A9F82E9-9D6B-D045-A71A-150CB955965F}"/>
    <dgm:cxn modelId="{674D6C8A-30E6-564D-9142-120BB4D947A9}" srcId="{02BA0D8E-884F-D545-BFF7-95207C181DAB}" destId="{CF0461F7-EC97-BB41-A574-9C1E3009EACC}" srcOrd="0" destOrd="0" parTransId="{B2C709E6-0566-4D4E-97EA-2EBE699D701F}" sibTransId="{ABC1C475-5434-1B41-BC48-ADC728C8CBF7}"/>
    <dgm:cxn modelId="{664686B3-0591-457A-8E78-49FDEC1F11D0}" srcId="{CF0461F7-EC97-BB41-A574-9C1E3009EACC}" destId="{2EBE6179-CCAA-43B4-99D0-D1FBD8338CDA}" srcOrd="0" destOrd="0" parTransId="{CCE85E25-12D3-40B9-9060-C08805620193}" sibTransId="{A3C2D95F-49C9-4903-9AEC-101A97E2106F}"/>
    <dgm:cxn modelId="{5BDF5BCE-6ACD-3E48-A90E-AD9E79767826}" type="presOf" srcId="{23B50714-0509-4642-A7B1-89D393B513F5}" destId="{DF9D35E7-33C9-D448-BFC7-5795D5307244}" srcOrd="0" destOrd="0" presId="urn:microsoft.com/office/officeart/2008/layout/LinedList"/>
    <dgm:cxn modelId="{B62110D3-C394-8849-8C36-DC79503FFCEE}" type="presOf" srcId="{79EA1DF4-2E79-4E47-9205-2B9724EED28F}" destId="{DB88A68E-D461-984A-B5F6-9A1FCBC63369}" srcOrd="0" destOrd="0" presId="urn:microsoft.com/office/officeart/2008/layout/LinedList"/>
    <dgm:cxn modelId="{2B23F4D3-3E3B-2745-BD66-2C627844B54D}" srcId="{982763B2-4EB1-43A4-921A-B736A78FCF32}" destId="{91C9005D-057D-494E-8A8F-33EBAEA63E39}" srcOrd="0" destOrd="0" parTransId="{D00A60DF-23E3-8548-A5AF-36F4ED07B048}" sibTransId="{82ACE0BA-A47F-244D-A099-EFA5B3BF9B20}"/>
    <dgm:cxn modelId="{CF110505-508F-4E47-9BAE-24F0843DBA60}" type="presParOf" srcId="{3A9D9B14-D800-4342-A44E-B26D81AACF9D}" destId="{A5D28E29-061B-E94E-BEF6-6A2C91CE9F28}" srcOrd="0" destOrd="0" presId="urn:microsoft.com/office/officeart/2008/layout/LinedList"/>
    <dgm:cxn modelId="{6476ADB0-9850-C246-A908-D7E115F363AB}" type="presParOf" srcId="{3A9D9B14-D800-4342-A44E-B26D81AACF9D}" destId="{CA46D2AB-AF3B-3F40-A0D8-305C75936544}" srcOrd="1" destOrd="0" presId="urn:microsoft.com/office/officeart/2008/layout/LinedList"/>
    <dgm:cxn modelId="{290EC78D-A2F1-B244-AF52-C21CC8732F33}" type="presParOf" srcId="{CA46D2AB-AF3B-3F40-A0D8-305C75936544}" destId="{AEE9D810-E335-0D45-9353-23CDBEAA1606}" srcOrd="0" destOrd="0" presId="urn:microsoft.com/office/officeart/2008/layout/LinedList"/>
    <dgm:cxn modelId="{0CCD47DA-4A9F-FB4E-9B25-88699C483D4C}" type="presParOf" srcId="{CA46D2AB-AF3B-3F40-A0D8-305C75936544}" destId="{B1445EA1-A72D-1F44-B3B4-462F1A426DFB}" srcOrd="1" destOrd="0" presId="urn:microsoft.com/office/officeart/2008/layout/LinedList"/>
    <dgm:cxn modelId="{2220D6CB-E807-4244-9C72-D0E704C973D5}" type="presParOf" srcId="{B1445EA1-A72D-1F44-B3B4-462F1A426DFB}" destId="{2EFE7497-A08C-3D4A-A3D5-00AAA4059FF5}" srcOrd="0" destOrd="0" presId="urn:microsoft.com/office/officeart/2008/layout/LinedList"/>
    <dgm:cxn modelId="{4BD924DF-3680-B541-ADFA-38B70B911360}" type="presParOf" srcId="{B1445EA1-A72D-1F44-B3B4-462F1A426DFB}" destId="{D376DA78-A273-EB4D-9EBE-125977340326}" srcOrd="1" destOrd="0" presId="urn:microsoft.com/office/officeart/2008/layout/LinedList"/>
    <dgm:cxn modelId="{D5D81F71-76E5-0749-AD70-25A6E544035D}" type="presParOf" srcId="{D376DA78-A273-EB4D-9EBE-125977340326}" destId="{286BB57C-8658-DB43-92EB-5DB444762375}" srcOrd="0" destOrd="0" presId="urn:microsoft.com/office/officeart/2008/layout/LinedList"/>
    <dgm:cxn modelId="{C6FAB9CA-3262-0D4C-9CED-9D04DADC207B}" type="presParOf" srcId="{D376DA78-A273-EB4D-9EBE-125977340326}" destId="{21D13B0D-5C15-7C42-85B3-A56421F37580}" srcOrd="1" destOrd="0" presId="urn:microsoft.com/office/officeart/2008/layout/LinedList"/>
    <dgm:cxn modelId="{1ABCF92C-938C-E74F-8F74-5618AAB71F9A}" type="presParOf" srcId="{D376DA78-A273-EB4D-9EBE-125977340326}" destId="{A448171C-461F-3A40-A62F-B2A710DA651B}" srcOrd="2" destOrd="0" presId="urn:microsoft.com/office/officeart/2008/layout/LinedList"/>
    <dgm:cxn modelId="{B94E4E3B-84AF-1D4A-A403-208FB22029A0}" type="presParOf" srcId="{B1445EA1-A72D-1F44-B3B4-462F1A426DFB}" destId="{CFADBA98-CAB5-EE42-98BA-734B9A2E6858}" srcOrd="2" destOrd="0" presId="urn:microsoft.com/office/officeart/2008/layout/LinedList"/>
    <dgm:cxn modelId="{E3C0D380-BB9D-EA4F-9786-29D7955CE7CE}" type="presParOf" srcId="{B1445EA1-A72D-1F44-B3B4-462F1A426DFB}" destId="{6654346B-3482-DC4A-8EAD-F3F7D97FB89B}" srcOrd="3" destOrd="0" presId="urn:microsoft.com/office/officeart/2008/layout/LinedList"/>
    <dgm:cxn modelId="{30B41882-25FC-F64E-AD89-5FB6A87BDF8C}" type="presParOf" srcId="{3A9D9B14-D800-4342-A44E-B26D81AACF9D}" destId="{FB76D73E-7843-0547-AB26-DB385CD70AE5}" srcOrd="2" destOrd="0" presId="urn:microsoft.com/office/officeart/2008/layout/LinedList"/>
    <dgm:cxn modelId="{736FA587-9982-B841-B432-E4A64F827C6B}" type="presParOf" srcId="{3A9D9B14-D800-4342-A44E-B26D81AACF9D}" destId="{689046B2-BF96-6643-A4C7-B2A507B5D1FD}" srcOrd="3" destOrd="0" presId="urn:microsoft.com/office/officeart/2008/layout/LinedList"/>
    <dgm:cxn modelId="{0D217495-1F17-F944-8EDB-5836A58FBEE6}" type="presParOf" srcId="{689046B2-BF96-6643-A4C7-B2A507B5D1FD}" destId="{08481F58-CFA6-F949-9FF4-6F05BE2C7979}" srcOrd="0" destOrd="0" presId="urn:microsoft.com/office/officeart/2008/layout/LinedList"/>
    <dgm:cxn modelId="{C5B601C7-726A-C04E-BF54-DECFA09EA554}" type="presParOf" srcId="{689046B2-BF96-6643-A4C7-B2A507B5D1FD}" destId="{BE77EBD6-C63B-2044-A027-29622FFDE904}" srcOrd="1" destOrd="0" presId="urn:microsoft.com/office/officeart/2008/layout/LinedList"/>
    <dgm:cxn modelId="{A065CA69-4623-6C4E-B2C5-3A3C1E1B4DFC}" type="presParOf" srcId="{BE77EBD6-C63B-2044-A027-29622FFDE904}" destId="{6775EC3E-74A1-3941-A87E-92A21EC9ACAF}" srcOrd="0" destOrd="0" presId="urn:microsoft.com/office/officeart/2008/layout/LinedList"/>
    <dgm:cxn modelId="{1ECEE9C7-0033-3649-A9E9-759751217EEE}" type="presParOf" srcId="{BE77EBD6-C63B-2044-A027-29622FFDE904}" destId="{482FCCF9-A5C5-1B47-A155-5115D8BADC3E}" srcOrd="1" destOrd="0" presId="urn:microsoft.com/office/officeart/2008/layout/LinedList"/>
    <dgm:cxn modelId="{3F6E47B4-E4ED-0B45-8DB0-89741CF29831}" type="presParOf" srcId="{482FCCF9-A5C5-1B47-A155-5115D8BADC3E}" destId="{92A857ED-DF74-AA46-A87D-2069309C9395}" srcOrd="0" destOrd="0" presId="urn:microsoft.com/office/officeart/2008/layout/LinedList"/>
    <dgm:cxn modelId="{C4DA7D73-3CF5-064E-B239-14DB45648488}" type="presParOf" srcId="{482FCCF9-A5C5-1B47-A155-5115D8BADC3E}" destId="{1D95F3B1-18C4-744B-9D5B-B4AEB4CB7E78}" srcOrd="1" destOrd="0" presId="urn:microsoft.com/office/officeart/2008/layout/LinedList"/>
    <dgm:cxn modelId="{D5DE965F-F38B-0B41-B311-696F1F8DF29F}" type="presParOf" srcId="{482FCCF9-A5C5-1B47-A155-5115D8BADC3E}" destId="{3E4AA525-83DB-614F-BBC6-5160C63810EA}" srcOrd="2" destOrd="0" presId="urn:microsoft.com/office/officeart/2008/layout/LinedList"/>
    <dgm:cxn modelId="{2EAA1E62-F695-3C40-8EC1-BCE8BF4FB8DA}" type="presParOf" srcId="{BE77EBD6-C63B-2044-A027-29622FFDE904}" destId="{C9DE5BE9-00BC-7B41-BF01-71C4ADABF9B9}" srcOrd="2" destOrd="0" presId="urn:microsoft.com/office/officeart/2008/layout/LinedList"/>
    <dgm:cxn modelId="{5549046C-DB25-9B43-ADDC-059CA40CFC5E}" type="presParOf" srcId="{BE77EBD6-C63B-2044-A027-29622FFDE904}" destId="{A89E2E33-9D8D-9C4D-AE16-2D3C5FCD9D91}" srcOrd="3" destOrd="0" presId="urn:microsoft.com/office/officeart/2008/layout/LinedList"/>
    <dgm:cxn modelId="{C84C735A-D102-DD4F-B8E5-D031E41CFBDC}" type="presParOf" srcId="{3A9D9B14-D800-4342-A44E-B26D81AACF9D}" destId="{AB79A44A-8B97-664B-928E-FAB4E02025BD}" srcOrd="4" destOrd="0" presId="urn:microsoft.com/office/officeart/2008/layout/LinedList"/>
    <dgm:cxn modelId="{4ABBF24B-D538-6542-8DF0-B95AD44B47CD}" type="presParOf" srcId="{3A9D9B14-D800-4342-A44E-B26D81AACF9D}" destId="{F9146254-CAA7-1640-9EF8-E941D35BA2F3}" srcOrd="5" destOrd="0" presId="urn:microsoft.com/office/officeart/2008/layout/LinedList"/>
    <dgm:cxn modelId="{4553015D-DA1C-BF46-82B9-A67CD0E6C62F}" type="presParOf" srcId="{F9146254-CAA7-1640-9EF8-E941D35BA2F3}" destId="{DF9D35E7-33C9-D448-BFC7-5795D5307244}" srcOrd="0" destOrd="0" presId="urn:microsoft.com/office/officeart/2008/layout/LinedList"/>
    <dgm:cxn modelId="{B46B9008-C4D0-BF49-9A86-4F6496813D05}" type="presParOf" srcId="{F9146254-CAA7-1640-9EF8-E941D35BA2F3}" destId="{0267B9C1-F546-2842-8D80-DE15A6DD5C1E}" srcOrd="1" destOrd="0" presId="urn:microsoft.com/office/officeart/2008/layout/LinedList"/>
    <dgm:cxn modelId="{B2DDD6C5-63A0-6245-A129-F2C57D916F8B}" type="presParOf" srcId="{0267B9C1-F546-2842-8D80-DE15A6DD5C1E}" destId="{45F1F7F3-886C-B34C-934E-514323EA6D96}" srcOrd="0" destOrd="0" presId="urn:microsoft.com/office/officeart/2008/layout/LinedList"/>
    <dgm:cxn modelId="{CD00C15D-4F4E-5C47-99F8-2E789353B5CC}" type="presParOf" srcId="{0267B9C1-F546-2842-8D80-DE15A6DD5C1E}" destId="{7C444086-1713-2D4E-9059-86B7E011ADCD}" srcOrd="1" destOrd="0" presId="urn:microsoft.com/office/officeart/2008/layout/LinedList"/>
    <dgm:cxn modelId="{F4726BA3-B22A-C445-A3B0-22FEECC703DE}" type="presParOf" srcId="{7C444086-1713-2D4E-9059-86B7E011ADCD}" destId="{3227B7BD-CE91-D44E-A92C-268C7FAC9FD7}" srcOrd="0" destOrd="0" presId="urn:microsoft.com/office/officeart/2008/layout/LinedList"/>
    <dgm:cxn modelId="{197CF9DC-A32B-3341-83E9-696D361BDAD6}" type="presParOf" srcId="{7C444086-1713-2D4E-9059-86B7E011ADCD}" destId="{DB88A68E-D461-984A-B5F6-9A1FCBC63369}" srcOrd="1" destOrd="0" presId="urn:microsoft.com/office/officeart/2008/layout/LinedList"/>
    <dgm:cxn modelId="{BE1645E3-F9F6-2E40-895B-BA79860D97FE}" type="presParOf" srcId="{7C444086-1713-2D4E-9059-86B7E011ADCD}" destId="{E97E193C-4BDE-2549-BD04-50D1CB04CA04}" srcOrd="2" destOrd="0" presId="urn:microsoft.com/office/officeart/2008/layout/LinedList"/>
    <dgm:cxn modelId="{CC1E6208-A107-8446-BE9F-10ECF1432242}" type="presParOf" srcId="{0267B9C1-F546-2842-8D80-DE15A6DD5C1E}" destId="{B95024A5-56A9-1B4C-A70F-A64DEF7556DA}" srcOrd="2" destOrd="0" presId="urn:microsoft.com/office/officeart/2008/layout/LinedList"/>
    <dgm:cxn modelId="{8FADCC9B-003E-594D-BA26-ACC371EFD755}" type="presParOf" srcId="{0267B9C1-F546-2842-8D80-DE15A6DD5C1E}" destId="{93E4382A-8103-ED46-B239-8F28B29B9624}" srcOrd="3"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7BC2DB20-EFFD-4E7B-93C1-553BACDC4218}"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US"/>
        </a:p>
      </dgm:t>
    </dgm:pt>
    <dgm:pt modelId="{F9616633-67CF-4777-86DF-05E3BBA9B64A}">
      <dgm:prSet custT="1"/>
      <dgm:spPr/>
      <dgm:t>
        <a:bodyPr/>
        <a:lstStyle/>
        <a:p>
          <a:r>
            <a:rPr lang="en-US" sz="2800" dirty="0"/>
            <a:t>form explorer icons</a:t>
          </a:r>
        </a:p>
      </dgm:t>
    </dgm:pt>
    <dgm:pt modelId="{41636B72-530D-4715-B4C0-FB56BFCEE6E7}" type="parTrans" cxnId="{471A3803-6B31-48E1-AE6F-6C6E9863FEB6}">
      <dgm:prSet/>
      <dgm:spPr/>
      <dgm:t>
        <a:bodyPr/>
        <a:lstStyle/>
        <a:p>
          <a:endParaRPr lang="en-US"/>
        </a:p>
      </dgm:t>
    </dgm:pt>
    <dgm:pt modelId="{8FD007C3-2C27-43D7-B63B-66A459F71B6F}" type="sibTrans" cxnId="{471A3803-6B31-48E1-AE6F-6C6E9863FEB6}">
      <dgm:prSet/>
      <dgm:spPr/>
      <dgm:t>
        <a:bodyPr/>
        <a:lstStyle/>
        <a:p>
          <a:endParaRPr lang="en-US"/>
        </a:p>
      </dgm:t>
    </dgm:pt>
    <dgm:pt modelId="{1BFEDF4C-183B-435A-A873-B7A3DD2C032D}">
      <dgm:prSet custT="1"/>
      <dgm:spPr/>
      <dgm:t>
        <a:bodyPr/>
        <a:lstStyle/>
        <a:p>
          <a:r>
            <a:rPr lang="en-CA" sz="2800" dirty="0"/>
            <a:t>right-click</a:t>
          </a:r>
        </a:p>
      </dgm:t>
    </dgm:pt>
    <dgm:pt modelId="{5383FA03-766E-454F-AC9E-6B2B4AB41CA7}" type="parTrans" cxnId="{660C4197-DA2F-4C24-828D-C0ACC468B2C0}">
      <dgm:prSet/>
      <dgm:spPr/>
      <dgm:t>
        <a:bodyPr/>
        <a:lstStyle/>
        <a:p>
          <a:endParaRPr lang="en-US"/>
        </a:p>
      </dgm:t>
    </dgm:pt>
    <dgm:pt modelId="{4D2A0D6E-9325-497B-9560-74DC583FC075}" type="sibTrans" cxnId="{660C4197-DA2F-4C24-828D-C0ACC468B2C0}">
      <dgm:prSet/>
      <dgm:spPr/>
      <dgm:t>
        <a:bodyPr/>
        <a:lstStyle/>
        <a:p>
          <a:endParaRPr lang="en-US"/>
        </a:p>
      </dgm:t>
    </dgm:pt>
    <dgm:pt modelId="{4FD3D21D-1FB9-42A1-A8E3-64C303C78B35}">
      <dgm:prSet custT="1"/>
      <dgm:spPr/>
      <dgm:t>
        <a:bodyPr/>
        <a:lstStyle/>
        <a:p>
          <a:pPr algn="l"/>
          <a:r>
            <a:rPr lang="en-CA" sz="2800" dirty="0"/>
            <a:t>find what you need</a:t>
          </a:r>
          <a:endParaRPr lang="en-US" sz="2800" dirty="0"/>
        </a:p>
      </dgm:t>
    </dgm:pt>
    <dgm:pt modelId="{F81F1D7C-44A8-45D3-BF7F-D2AF40F3B917}" type="parTrans" cxnId="{31E581D8-A608-4E52-B6C8-B0EF78F63F7F}">
      <dgm:prSet/>
      <dgm:spPr/>
      <dgm:t>
        <a:bodyPr/>
        <a:lstStyle/>
        <a:p>
          <a:endParaRPr lang="en-US"/>
        </a:p>
      </dgm:t>
    </dgm:pt>
    <dgm:pt modelId="{0875FC72-4884-45DE-A1C7-D30A779437DA}" type="sibTrans" cxnId="{31E581D8-A608-4E52-B6C8-B0EF78F63F7F}">
      <dgm:prSet/>
      <dgm:spPr/>
      <dgm:t>
        <a:bodyPr/>
        <a:lstStyle/>
        <a:p>
          <a:endParaRPr lang="en-US"/>
        </a:p>
      </dgm:t>
    </dgm:pt>
    <dgm:pt modelId="{C536690A-0423-5345-8E82-20CB11EA0240}" type="pres">
      <dgm:prSet presAssocID="{7BC2DB20-EFFD-4E7B-93C1-553BACDC4218}" presName="vert0" presStyleCnt="0">
        <dgm:presLayoutVars>
          <dgm:dir/>
          <dgm:animOne val="branch"/>
          <dgm:animLvl val="lvl"/>
        </dgm:presLayoutVars>
      </dgm:prSet>
      <dgm:spPr/>
    </dgm:pt>
    <dgm:pt modelId="{1F3A8925-E080-9A49-A194-D3EB9365FB66}" type="pres">
      <dgm:prSet presAssocID="{4FD3D21D-1FB9-42A1-A8E3-64C303C78B35}" presName="thickLine" presStyleLbl="alignNode1" presStyleIdx="0" presStyleCnt="3"/>
      <dgm:spPr/>
    </dgm:pt>
    <dgm:pt modelId="{912B0513-FB1D-DC43-8F04-28079AE7F995}" type="pres">
      <dgm:prSet presAssocID="{4FD3D21D-1FB9-42A1-A8E3-64C303C78B35}" presName="horz1" presStyleCnt="0"/>
      <dgm:spPr/>
    </dgm:pt>
    <dgm:pt modelId="{596D176F-E4D9-174F-AE54-517342ACEC35}" type="pres">
      <dgm:prSet presAssocID="{4FD3D21D-1FB9-42A1-A8E3-64C303C78B35}" presName="tx1" presStyleLbl="revTx" presStyleIdx="0" presStyleCnt="3"/>
      <dgm:spPr/>
    </dgm:pt>
    <dgm:pt modelId="{B2819FC0-88D4-174A-8CF2-E47198C9912F}" type="pres">
      <dgm:prSet presAssocID="{4FD3D21D-1FB9-42A1-A8E3-64C303C78B35}" presName="vert1" presStyleCnt="0"/>
      <dgm:spPr/>
    </dgm:pt>
    <dgm:pt modelId="{2E3E28F4-DE3E-E343-BDB6-291CAF2E206E}" type="pres">
      <dgm:prSet presAssocID="{F9616633-67CF-4777-86DF-05E3BBA9B64A}" presName="thickLine" presStyleLbl="alignNode1" presStyleIdx="1" presStyleCnt="3"/>
      <dgm:spPr/>
    </dgm:pt>
    <dgm:pt modelId="{4C24B29C-E41D-6646-B527-699BC189BE74}" type="pres">
      <dgm:prSet presAssocID="{F9616633-67CF-4777-86DF-05E3BBA9B64A}" presName="horz1" presStyleCnt="0"/>
      <dgm:spPr/>
    </dgm:pt>
    <dgm:pt modelId="{CC5A41E6-91BD-464D-A5DD-D97E24355F12}" type="pres">
      <dgm:prSet presAssocID="{F9616633-67CF-4777-86DF-05E3BBA9B64A}" presName="tx1" presStyleLbl="revTx" presStyleIdx="1" presStyleCnt="3"/>
      <dgm:spPr/>
    </dgm:pt>
    <dgm:pt modelId="{0264E29C-5D25-DC47-AE80-E524E80EED98}" type="pres">
      <dgm:prSet presAssocID="{F9616633-67CF-4777-86DF-05E3BBA9B64A}" presName="vert1" presStyleCnt="0"/>
      <dgm:spPr/>
    </dgm:pt>
    <dgm:pt modelId="{6882A559-EEAA-4E4A-85C0-B94DE6CBBBDD}" type="pres">
      <dgm:prSet presAssocID="{1BFEDF4C-183B-435A-A873-B7A3DD2C032D}" presName="thickLine" presStyleLbl="alignNode1" presStyleIdx="2" presStyleCnt="3"/>
      <dgm:spPr/>
    </dgm:pt>
    <dgm:pt modelId="{01F11574-EC28-9B43-9220-73A2A37C99A3}" type="pres">
      <dgm:prSet presAssocID="{1BFEDF4C-183B-435A-A873-B7A3DD2C032D}" presName="horz1" presStyleCnt="0"/>
      <dgm:spPr/>
    </dgm:pt>
    <dgm:pt modelId="{71B9822C-FA99-FE4F-9465-012498E3666E}" type="pres">
      <dgm:prSet presAssocID="{1BFEDF4C-183B-435A-A873-B7A3DD2C032D}" presName="tx1" presStyleLbl="revTx" presStyleIdx="2" presStyleCnt="3"/>
      <dgm:spPr/>
    </dgm:pt>
    <dgm:pt modelId="{4CD58B59-4121-754F-B955-3EA6BD6EF084}" type="pres">
      <dgm:prSet presAssocID="{1BFEDF4C-183B-435A-A873-B7A3DD2C032D}" presName="vert1" presStyleCnt="0"/>
      <dgm:spPr/>
    </dgm:pt>
  </dgm:ptLst>
  <dgm:cxnLst>
    <dgm:cxn modelId="{471A3803-6B31-48E1-AE6F-6C6E9863FEB6}" srcId="{7BC2DB20-EFFD-4E7B-93C1-553BACDC4218}" destId="{F9616633-67CF-4777-86DF-05E3BBA9B64A}" srcOrd="1" destOrd="0" parTransId="{41636B72-530D-4715-B4C0-FB56BFCEE6E7}" sibTransId="{8FD007C3-2C27-43D7-B63B-66A459F71B6F}"/>
    <dgm:cxn modelId="{70704714-9F63-574F-A591-BF0B8CDE2C28}" type="presOf" srcId="{1BFEDF4C-183B-435A-A873-B7A3DD2C032D}" destId="{71B9822C-FA99-FE4F-9465-012498E3666E}" srcOrd="0" destOrd="0" presId="urn:microsoft.com/office/officeart/2008/layout/LinedList"/>
    <dgm:cxn modelId="{A7249B7E-448B-7B4F-9A91-496E4F50FE0E}" type="presOf" srcId="{F9616633-67CF-4777-86DF-05E3BBA9B64A}" destId="{CC5A41E6-91BD-464D-A5DD-D97E24355F12}" srcOrd="0" destOrd="0" presId="urn:microsoft.com/office/officeart/2008/layout/LinedList"/>
    <dgm:cxn modelId="{53C37584-035D-B84A-9379-1A3978D05E2A}" type="presOf" srcId="{7BC2DB20-EFFD-4E7B-93C1-553BACDC4218}" destId="{C536690A-0423-5345-8E82-20CB11EA0240}" srcOrd="0" destOrd="0" presId="urn:microsoft.com/office/officeart/2008/layout/LinedList"/>
    <dgm:cxn modelId="{660C4197-DA2F-4C24-828D-C0ACC468B2C0}" srcId="{7BC2DB20-EFFD-4E7B-93C1-553BACDC4218}" destId="{1BFEDF4C-183B-435A-A873-B7A3DD2C032D}" srcOrd="2" destOrd="0" parTransId="{5383FA03-766E-454F-AC9E-6B2B4AB41CA7}" sibTransId="{4D2A0D6E-9325-497B-9560-74DC583FC075}"/>
    <dgm:cxn modelId="{B329D4D0-E50B-8642-B6C2-C2C5F3A9BD83}" type="presOf" srcId="{4FD3D21D-1FB9-42A1-A8E3-64C303C78B35}" destId="{596D176F-E4D9-174F-AE54-517342ACEC35}" srcOrd="0" destOrd="0" presId="urn:microsoft.com/office/officeart/2008/layout/LinedList"/>
    <dgm:cxn modelId="{31E581D8-A608-4E52-B6C8-B0EF78F63F7F}" srcId="{7BC2DB20-EFFD-4E7B-93C1-553BACDC4218}" destId="{4FD3D21D-1FB9-42A1-A8E3-64C303C78B35}" srcOrd="0" destOrd="0" parTransId="{F81F1D7C-44A8-45D3-BF7F-D2AF40F3B917}" sibTransId="{0875FC72-4884-45DE-A1C7-D30A779437DA}"/>
    <dgm:cxn modelId="{EC6B44DF-F79B-1B43-8646-7DD38D82DEE7}" type="presParOf" srcId="{C536690A-0423-5345-8E82-20CB11EA0240}" destId="{1F3A8925-E080-9A49-A194-D3EB9365FB66}" srcOrd="0" destOrd="0" presId="urn:microsoft.com/office/officeart/2008/layout/LinedList"/>
    <dgm:cxn modelId="{619A2E6A-8325-2B4F-956D-C810859C79FB}" type="presParOf" srcId="{C536690A-0423-5345-8E82-20CB11EA0240}" destId="{912B0513-FB1D-DC43-8F04-28079AE7F995}" srcOrd="1" destOrd="0" presId="urn:microsoft.com/office/officeart/2008/layout/LinedList"/>
    <dgm:cxn modelId="{3F0FCA4E-3CF4-C44B-AFAD-E897D55473DF}" type="presParOf" srcId="{912B0513-FB1D-DC43-8F04-28079AE7F995}" destId="{596D176F-E4D9-174F-AE54-517342ACEC35}" srcOrd="0" destOrd="0" presId="urn:microsoft.com/office/officeart/2008/layout/LinedList"/>
    <dgm:cxn modelId="{8B80B1B4-19C5-664E-A416-AFD124CC783D}" type="presParOf" srcId="{912B0513-FB1D-DC43-8F04-28079AE7F995}" destId="{B2819FC0-88D4-174A-8CF2-E47198C9912F}" srcOrd="1" destOrd="0" presId="urn:microsoft.com/office/officeart/2008/layout/LinedList"/>
    <dgm:cxn modelId="{3B5F44E8-0583-AE4A-A3CA-A41120AFE980}" type="presParOf" srcId="{C536690A-0423-5345-8E82-20CB11EA0240}" destId="{2E3E28F4-DE3E-E343-BDB6-291CAF2E206E}" srcOrd="2" destOrd="0" presId="urn:microsoft.com/office/officeart/2008/layout/LinedList"/>
    <dgm:cxn modelId="{BC21F6E9-DA37-1A47-B899-00E9272828CA}" type="presParOf" srcId="{C536690A-0423-5345-8E82-20CB11EA0240}" destId="{4C24B29C-E41D-6646-B527-699BC189BE74}" srcOrd="3" destOrd="0" presId="urn:microsoft.com/office/officeart/2008/layout/LinedList"/>
    <dgm:cxn modelId="{086BB201-9E9A-F045-9F63-0DB55412775B}" type="presParOf" srcId="{4C24B29C-E41D-6646-B527-699BC189BE74}" destId="{CC5A41E6-91BD-464D-A5DD-D97E24355F12}" srcOrd="0" destOrd="0" presId="urn:microsoft.com/office/officeart/2008/layout/LinedList"/>
    <dgm:cxn modelId="{C1126AAD-90A5-9542-B416-94743A6890B9}" type="presParOf" srcId="{4C24B29C-E41D-6646-B527-699BC189BE74}" destId="{0264E29C-5D25-DC47-AE80-E524E80EED98}" srcOrd="1" destOrd="0" presId="urn:microsoft.com/office/officeart/2008/layout/LinedList"/>
    <dgm:cxn modelId="{5FE17D2E-BF40-274A-A0E1-FC55A15E48C4}" type="presParOf" srcId="{C536690A-0423-5345-8E82-20CB11EA0240}" destId="{6882A559-EEAA-4E4A-85C0-B94DE6CBBBDD}" srcOrd="4" destOrd="0" presId="urn:microsoft.com/office/officeart/2008/layout/LinedList"/>
    <dgm:cxn modelId="{5CB8082C-3317-A446-93AD-80B3C27C1154}" type="presParOf" srcId="{C536690A-0423-5345-8E82-20CB11EA0240}" destId="{01F11574-EC28-9B43-9220-73A2A37C99A3}" srcOrd="5" destOrd="0" presId="urn:microsoft.com/office/officeart/2008/layout/LinedList"/>
    <dgm:cxn modelId="{3F54BE5F-B770-8D45-BED6-815B46CA2CAD}" type="presParOf" srcId="{01F11574-EC28-9B43-9220-73A2A37C99A3}" destId="{71B9822C-FA99-FE4F-9465-012498E3666E}" srcOrd="0" destOrd="0" presId="urn:microsoft.com/office/officeart/2008/layout/LinedList"/>
    <dgm:cxn modelId="{15129D7A-2F7E-4D47-843E-725C35844F66}" type="presParOf" srcId="{01F11574-EC28-9B43-9220-73A2A37C99A3}" destId="{4CD58B59-4121-754F-B955-3EA6BD6EF084}"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7BC2DB20-EFFD-4E7B-93C1-553BACDC4218}"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CA" dirty="0"/>
            <a:t>data monitor</a:t>
          </a:r>
          <a:endParaRPr lang="en-US" dirty="0"/>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69CA2A15-42B6-A540-9B4F-5C0E8DFB4697}">
      <dgm:prSet custT="1"/>
      <dgm:spPr/>
      <dgm:t>
        <a:bodyPr/>
        <a:lstStyle/>
        <a:p>
          <a:endParaRPr lang="en-US" sz="2400" dirty="0"/>
        </a:p>
      </dgm:t>
    </dgm:pt>
    <dgm:pt modelId="{D2F162B9-EDED-B541-8D47-DC6377E92D7F}" type="parTrans" cxnId="{8D47A4EB-BF7A-4044-A83E-51B26599E712}">
      <dgm:prSet/>
      <dgm:spPr/>
      <dgm:t>
        <a:bodyPr/>
        <a:lstStyle/>
        <a:p>
          <a:endParaRPr lang="en-CA"/>
        </a:p>
      </dgm:t>
    </dgm:pt>
    <dgm:pt modelId="{948FC79E-6240-3246-B40C-AC4366FDCF84}" type="sibTrans" cxnId="{8D47A4EB-BF7A-4044-A83E-51B26599E712}">
      <dgm:prSet/>
      <dgm:spPr/>
      <dgm:t>
        <a:bodyPr/>
        <a:lstStyle/>
        <a:p>
          <a:endParaRPr lang="en-CA"/>
        </a:p>
      </dgm:t>
    </dgm:pt>
    <dgm:pt modelId="{EBA7F3FF-B8A6-FC4A-8012-4F55D6515EDF}" type="pres">
      <dgm:prSet presAssocID="{7BC2DB20-EFFD-4E7B-93C1-553BACDC4218}" presName="vert0" presStyleCnt="0">
        <dgm:presLayoutVars>
          <dgm:dir/>
          <dgm:animOne val="branch"/>
          <dgm:animLvl val="lvl"/>
        </dgm:presLayoutVars>
      </dgm:prSet>
      <dgm:spPr/>
    </dgm:pt>
    <dgm:pt modelId="{948B52A0-2BF9-3546-8000-39085D1CC5B2}" type="pres">
      <dgm:prSet presAssocID="{5CB291CD-C87A-4E73-A31F-A5E8DC48EC04}" presName="thickLine" presStyleLbl="alignNode1" presStyleIdx="0" presStyleCnt="1"/>
      <dgm:spPr/>
    </dgm:pt>
    <dgm:pt modelId="{CA96A3E0-AAE6-D74E-811C-6EDFF0B6261A}" type="pres">
      <dgm:prSet presAssocID="{5CB291CD-C87A-4E73-A31F-A5E8DC48EC04}" presName="horz1" presStyleCnt="0"/>
      <dgm:spPr/>
    </dgm:pt>
    <dgm:pt modelId="{534B2B40-730E-BD40-9407-D1FB5AC36952}" type="pres">
      <dgm:prSet presAssocID="{5CB291CD-C87A-4E73-A31F-A5E8DC48EC04}" presName="tx1" presStyleLbl="revTx" presStyleIdx="0" presStyleCnt="2"/>
      <dgm:spPr/>
    </dgm:pt>
    <dgm:pt modelId="{26DA2CE4-8DCB-5A40-8CB1-2B1303401E4B}" type="pres">
      <dgm:prSet presAssocID="{5CB291CD-C87A-4E73-A31F-A5E8DC48EC04}" presName="vert1" presStyleCnt="0"/>
      <dgm:spPr/>
    </dgm:pt>
    <dgm:pt modelId="{5E96B56D-1AA5-084E-BAF0-8C5D06962672}" type="pres">
      <dgm:prSet presAssocID="{69CA2A15-42B6-A540-9B4F-5C0E8DFB4697}" presName="vertSpace2a" presStyleCnt="0"/>
      <dgm:spPr/>
    </dgm:pt>
    <dgm:pt modelId="{7E5D24ED-3E8A-2944-877D-92680DD176DF}" type="pres">
      <dgm:prSet presAssocID="{69CA2A15-42B6-A540-9B4F-5C0E8DFB4697}" presName="horz2" presStyleCnt="0"/>
      <dgm:spPr/>
    </dgm:pt>
    <dgm:pt modelId="{E66822A5-D426-B74C-BDA8-3EEAB102B8CE}" type="pres">
      <dgm:prSet presAssocID="{69CA2A15-42B6-A540-9B4F-5C0E8DFB4697}" presName="horzSpace2" presStyleCnt="0"/>
      <dgm:spPr/>
    </dgm:pt>
    <dgm:pt modelId="{76C515FA-48E0-E748-A67A-CEBAE2686D2A}" type="pres">
      <dgm:prSet presAssocID="{69CA2A15-42B6-A540-9B4F-5C0E8DFB4697}" presName="tx2" presStyleLbl="revTx" presStyleIdx="1" presStyleCnt="2"/>
      <dgm:spPr/>
    </dgm:pt>
    <dgm:pt modelId="{D6F5F56C-EF23-AF4B-85EE-3AFED729AFDA}" type="pres">
      <dgm:prSet presAssocID="{69CA2A15-42B6-A540-9B4F-5C0E8DFB4697}" presName="vert2" presStyleCnt="0"/>
      <dgm:spPr/>
    </dgm:pt>
    <dgm:pt modelId="{4B8D632A-42EE-DE41-83E5-0ED5FBCF2F36}" type="pres">
      <dgm:prSet presAssocID="{69CA2A15-42B6-A540-9B4F-5C0E8DFB4697}" presName="thinLine2b" presStyleLbl="callout" presStyleIdx="0" presStyleCnt="1"/>
      <dgm:spPr/>
    </dgm:pt>
    <dgm:pt modelId="{0BD1C353-95E0-A644-A3E7-D088C79F3EB8}" type="pres">
      <dgm:prSet presAssocID="{69CA2A15-42B6-A540-9B4F-5C0E8DFB4697}" presName="vertSpace2b" presStyleCnt="0"/>
      <dgm:spPr/>
    </dgm:pt>
  </dgm:ptLst>
  <dgm:cxnLst>
    <dgm:cxn modelId="{C8BF1404-11AF-480F-8668-46368F1D8C9B}" srcId="{7BC2DB20-EFFD-4E7B-93C1-553BACDC4218}" destId="{5CB291CD-C87A-4E73-A31F-A5E8DC48EC04}" srcOrd="0" destOrd="0" parTransId="{E99F5492-A06F-4526-99D6-3D5D0DAAB8D2}" sibTransId="{EB8001B5-1F3F-4B4C-99B7-5E44380F79E6}"/>
    <dgm:cxn modelId="{4D601C63-977E-4E46-AE65-C60CA2F28FC9}" type="presOf" srcId="{69CA2A15-42B6-A540-9B4F-5C0E8DFB4697}" destId="{76C515FA-48E0-E748-A67A-CEBAE2686D2A}" srcOrd="0" destOrd="0" presId="urn:microsoft.com/office/officeart/2008/layout/LinedList"/>
    <dgm:cxn modelId="{114D52AD-1633-F642-99FF-B44210167D20}" type="presOf" srcId="{5CB291CD-C87A-4E73-A31F-A5E8DC48EC04}" destId="{534B2B40-730E-BD40-9407-D1FB5AC36952}" srcOrd="0" destOrd="0" presId="urn:microsoft.com/office/officeart/2008/layout/LinedList"/>
    <dgm:cxn modelId="{6E4945DA-8D78-0C44-9B87-B5404EF441B5}" type="presOf" srcId="{7BC2DB20-EFFD-4E7B-93C1-553BACDC4218}" destId="{EBA7F3FF-B8A6-FC4A-8012-4F55D6515EDF}" srcOrd="0" destOrd="0" presId="urn:microsoft.com/office/officeart/2008/layout/LinedList"/>
    <dgm:cxn modelId="{8D47A4EB-BF7A-4044-A83E-51B26599E712}" srcId="{5CB291CD-C87A-4E73-A31F-A5E8DC48EC04}" destId="{69CA2A15-42B6-A540-9B4F-5C0E8DFB4697}" srcOrd="0" destOrd="0" parTransId="{D2F162B9-EDED-B541-8D47-DC6377E92D7F}" sibTransId="{948FC79E-6240-3246-B40C-AC4366FDCF84}"/>
    <dgm:cxn modelId="{050953DC-AC0E-EC4B-9EAD-97982FB6FF7B}" type="presParOf" srcId="{EBA7F3FF-B8A6-FC4A-8012-4F55D6515EDF}" destId="{948B52A0-2BF9-3546-8000-39085D1CC5B2}" srcOrd="0" destOrd="0" presId="urn:microsoft.com/office/officeart/2008/layout/LinedList"/>
    <dgm:cxn modelId="{7994A27F-625B-0B47-9A0F-BA902DD0F6EC}" type="presParOf" srcId="{EBA7F3FF-B8A6-FC4A-8012-4F55D6515EDF}" destId="{CA96A3E0-AAE6-D74E-811C-6EDFF0B6261A}" srcOrd="1" destOrd="0" presId="urn:microsoft.com/office/officeart/2008/layout/LinedList"/>
    <dgm:cxn modelId="{550646BF-D0C6-2D49-B20F-37C2103E732D}" type="presParOf" srcId="{CA96A3E0-AAE6-D74E-811C-6EDFF0B6261A}" destId="{534B2B40-730E-BD40-9407-D1FB5AC36952}" srcOrd="0" destOrd="0" presId="urn:microsoft.com/office/officeart/2008/layout/LinedList"/>
    <dgm:cxn modelId="{3B0F4BDD-4967-B84A-AC87-285EAC330763}" type="presParOf" srcId="{CA96A3E0-AAE6-D74E-811C-6EDFF0B6261A}" destId="{26DA2CE4-8DCB-5A40-8CB1-2B1303401E4B}" srcOrd="1" destOrd="0" presId="urn:microsoft.com/office/officeart/2008/layout/LinedList"/>
    <dgm:cxn modelId="{B6D8AE80-52FE-0E4A-B09F-A1CDCB0B79B0}" type="presParOf" srcId="{26DA2CE4-8DCB-5A40-8CB1-2B1303401E4B}" destId="{5E96B56D-1AA5-084E-BAF0-8C5D06962672}" srcOrd="0" destOrd="0" presId="urn:microsoft.com/office/officeart/2008/layout/LinedList"/>
    <dgm:cxn modelId="{F4C0F234-FFC2-7541-9942-EC37C2CEEF1A}" type="presParOf" srcId="{26DA2CE4-8DCB-5A40-8CB1-2B1303401E4B}" destId="{7E5D24ED-3E8A-2944-877D-92680DD176DF}" srcOrd="1" destOrd="0" presId="urn:microsoft.com/office/officeart/2008/layout/LinedList"/>
    <dgm:cxn modelId="{B3AA2EDC-612C-BD46-87A2-81807C5DA445}" type="presParOf" srcId="{7E5D24ED-3E8A-2944-877D-92680DD176DF}" destId="{E66822A5-D426-B74C-BDA8-3EEAB102B8CE}" srcOrd="0" destOrd="0" presId="urn:microsoft.com/office/officeart/2008/layout/LinedList"/>
    <dgm:cxn modelId="{14C5A0A6-F700-4346-ADD3-ACD144367021}" type="presParOf" srcId="{7E5D24ED-3E8A-2944-877D-92680DD176DF}" destId="{76C515FA-48E0-E748-A67A-CEBAE2686D2A}" srcOrd="1" destOrd="0" presId="urn:microsoft.com/office/officeart/2008/layout/LinedList"/>
    <dgm:cxn modelId="{CBB11191-6E3A-1744-8520-0F17D8D81167}" type="presParOf" srcId="{7E5D24ED-3E8A-2944-877D-92680DD176DF}" destId="{D6F5F56C-EF23-AF4B-85EE-3AFED729AFDA}" srcOrd="2" destOrd="0" presId="urn:microsoft.com/office/officeart/2008/layout/LinedList"/>
    <dgm:cxn modelId="{417A10F0-257C-8343-8C3B-D1C5ABDBAA34}" type="presParOf" srcId="{26DA2CE4-8DCB-5A40-8CB1-2B1303401E4B}" destId="{4B8D632A-42EE-DE41-83E5-0ED5FBCF2F36}" srcOrd="2" destOrd="0" presId="urn:microsoft.com/office/officeart/2008/layout/LinedList"/>
    <dgm:cxn modelId="{041DA0A8-22AF-984C-B071-3B4DB6275405}" type="presParOf" srcId="{26DA2CE4-8DCB-5A40-8CB1-2B1303401E4B}" destId="{0BD1C353-95E0-A644-A3E7-D088C79F3EB8}"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7BC2DB20-EFFD-4E7B-93C1-553BACDC4218}"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US"/>
        </a:p>
      </dgm:t>
    </dgm:pt>
    <dgm:pt modelId="{4FD3D21D-1FB9-42A1-A8E3-64C303C78B35}">
      <dgm:prSet custT="1"/>
      <dgm:spPr/>
      <dgm:t>
        <a:bodyPr/>
        <a:lstStyle/>
        <a:p>
          <a:pPr algn="l"/>
          <a:r>
            <a:rPr lang="en-CA" sz="2800" dirty="0"/>
            <a:t>Power of a right-click</a:t>
          </a:r>
          <a:endParaRPr lang="en-US" sz="2800" dirty="0"/>
        </a:p>
      </dgm:t>
    </dgm:pt>
    <dgm:pt modelId="{F81F1D7C-44A8-45D3-BF7F-D2AF40F3B917}" type="parTrans" cxnId="{31E581D8-A608-4E52-B6C8-B0EF78F63F7F}">
      <dgm:prSet/>
      <dgm:spPr/>
      <dgm:t>
        <a:bodyPr/>
        <a:lstStyle/>
        <a:p>
          <a:endParaRPr lang="en-US"/>
        </a:p>
      </dgm:t>
    </dgm:pt>
    <dgm:pt modelId="{0875FC72-4884-45DE-A1C7-D30A779437DA}" type="sibTrans" cxnId="{31E581D8-A608-4E52-B6C8-B0EF78F63F7F}">
      <dgm:prSet/>
      <dgm:spPr/>
      <dgm:t>
        <a:bodyPr/>
        <a:lstStyle/>
        <a:p>
          <a:endParaRPr lang="en-US"/>
        </a:p>
      </dgm:t>
    </dgm:pt>
    <dgm:pt modelId="{C536690A-0423-5345-8E82-20CB11EA0240}" type="pres">
      <dgm:prSet presAssocID="{7BC2DB20-EFFD-4E7B-93C1-553BACDC4218}" presName="vert0" presStyleCnt="0">
        <dgm:presLayoutVars>
          <dgm:dir/>
          <dgm:animOne val="branch"/>
          <dgm:animLvl val="lvl"/>
        </dgm:presLayoutVars>
      </dgm:prSet>
      <dgm:spPr/>
    </dgm:pt>
    <dgm:pt modelId="{1F3A8925-E080-9A49-A194-D3EB9365FB66}" type="pres">
      <dgm:prSet presAssocID="{4FD3D21D-1FB9-42A1-A8E3-64C303C78B35}" presName="thickLine" presStyleLbl="alignNode1" presStyleIdx="0" presStyleCnt="1"/>
      <dgm:spPr/>
    </dgm:pt>
    <dgm:pt modelId="{912B0513-FB1D-DC43-8F04-28079AE7F995}" type="pres">
      <dgm:prSet presAssocID="{4FD3D21D-1FB9-42A1-A8E3-64C303C78B35}" presName="horz1" presStyleCnt="0"/>
      <dgm:spPr/>
    </dgm:pt>
    <dgm:pt modelId="{596D176F-E4D9-174F-AE54-517342ACEC35}" type="pres">
      <dgm:prSet presAssocID="{4FD3D21D-1FB9-42A1-A8E3-64C303C78B35}" presName="tx1" presStyleLbl="revTx" presStyleIdx="0" presStyleCnt="1" custLinFactNeighborX="6973" custLinFactNeighborY="6673"/>
      <dgm:spPr/>
    </dgm:pt>
    <dgm:pt modelId="{B2819FC0-88D4-174A-8CF2-E47198C9912F}" type="pres">
      <dgm:prSet presAssocID="{4FD3D21D-1FB9-42A1-A8E3-64C303C78B35}" presName="vert1" presStyleCnt="0"/>
      <dgm:spPr/>
    </dgm:pt>
  </dgm:ptLst>
  <dgm:cxnLst>
    <dgm:cxn modelId="{53C37584-035D-B84A-9379-1A3978D05E2A}" type="presOf" srcId="{7BC2DB20-EFFD-4E7B-93C1-553BACDC4218}" destId="{C536690A-0423-5345-8E82-20CB11EA0240}" srcOrd="0" destOrd="0" presId="urn:microsoft.com/office/officeart/2008/layout/LinedList"/>
    <dgm:cxn modelId="{B329D4D0-E50B-8642-B6C2-C2C5F3A9BD83}" type="presOf" srcId="{4FD3D21D-1FB9-42A1-A8E3-64C303C78B35}" destId="{596D176F-E4D9-174F-AE54-517342ACEC35}" srcOrd="0" destOrd="0" presId="urn:microsoft.com/office/officeart/2008/layout/LinedList"/>
    <dgm:cxn modelId="{31E581D8-A608-4E52-B6C8-B0EF78F63F7F}" srcId="{7BC2DB20-EFFD-4E7B-93C1-553BACDC4218}" destId="{4FD3D21D-1FB9-42A1-A8E3-64C303C78B35}" srcOrd="0" destOrd="0" parTransId="{F81F1D7C-44A8-45D3-BF7F-D2AF40F3B917}" sibTransId="{0875FC72-4884-45DE-A1C7-D30A779437DA}"/>
    <dgm:cxn modelId="{EC6B44DF-F79B-1B43-8646-7DD38D82DEE7}" type="presParOf" srcId="{C536690A-0423-5345-8E82-20CB11EA0240}" destId="{1F3A8925-E080-9A49-A194-D3EB9365FB66}" srcOrd="0" destOrd="0" presId="urn:microsoft.com/office/officeart/2008/layout/LinedList"/>
    <dgm:cxn modelId="{619A2E6A-8325-2B4F-956D-C810859C79FB}" type="presParOf" srcId="{C536690A-0423-5345-8E82-20CB11EA0240}" destId="{912B0513-FB1D-DC43-8F04-28079AE7F995}" srcOrd="1" destOrd="0" presId="urn:microsoft.com/office/officeart/2008/layout/LinedList"/>
    <dgm:cxn modelId="{3F0FCA4E-3CF4-C44B-AFAD-E897D55473DF}" type="presParOf" srcId="{912B0513-FB1D-DC43-8F04-28079AE7F995}" destId="{596D176F-E4D9-174F-AE54-517342ACEC35}" srcOrd="0" destOrd="0" presId="urn:microsoft.com/office/officeart/2008/layout/LinedList"/>
    <dgm:cxn modelId="{8B80B1B4-19C5-664E-A416-AFD124CC783D}" type="presParOf" srcId="{912B0513-FB1D-DC43-8F04-28079AE7F995}" destId="{B2819FC0-88D4-174A-8CF2-E47198C9912F}"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7</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43C5C48-A3A7-894C-AFBF-327FB8DC19E8}" type="presOf" srcId="{9DF463DA-C321-47BB-A748-44B5D722BDE4}" destId="{03D7DCAF-0535-410C-B056-000B4ED11701}" srcOrd="0" destOrd="0" presId="urn:microsoft.com/office/officeart/2005/8/layout/cycle2"/>
    <dgm:cxn modelId="{C59363A2-BEE3-9543-B538-CB4BFED496C6}"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BE1ACBE-5FEC-C541-87B5-071371B969F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t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2EBE6179-CCAA-43B4-99D0-D1FBD8338CDA}">
      <dgm:prSet custT="1"/>
      <dgm:spPr/>
      <dgm:t>
        <a:bodyPr/>
        <a:lstStyle/>
        <a:p>
          <a:pPr rtl="0"/>
          <a:r>
            <a:rPr lang="en-CA" sz="2400" dirty="0"/>
            <a:t>display multiple files</a:t>
          </a:r>
        </a:p>
      </dgm:t>
    </dgm:pt>
    <dgm:pt modelId="{CCE85E25-12D3-40B9-9060-C08805620193}" type="parTrans" cxnId="{664686B3-0591-457A-8E78-49FDEC1F11D0}">
      <dgm:prSet/>
      <dgm:spPr/>
      <dgm:t>
        <a:bodyPr/>
        <a:lstStyle/>
        <a:p>
          <a:endParaRPr lang="en-US"/>
        </a:p>
      </dgm:t>
    </dgm:pt>
    <dgm:pt modelId="{A3C2D95F-49C9-4903-9AEC-101A97E2106F}" type="sibTrans" cxnId="{664686B3-0591-457A-8E78-49FDEC1F11D0}">
      <dgm:prSet/>
      <dgm:spPr/>
      <dgm:t>
        <a:bodyPr/>
        <a:lstStyle/>
        <a:p>
          <a:endParaRPr lang="en-US"/>
        </a:p>
      </dgm:t>
    </dgm:pt>
    <dgm:pt modelId="{982763B2-4EB1-43A4-921A-B736A78FCF32}">
      <dgm:prSet/>
      <dgm:spPr/>
      <dgm:t>
        <a:bodyPr/>
        <a:lstStyle/>
        <a:p>
          <a:pPr rtl="0"/>
          <a:r>
            <a:rPr lang="en-CA" dirty="0"/>
            <a:t>launch</a:t>
          </a:r>
        </a:p>
      </dgm:t>
    </dgm:pt>
    <dgm:pt modelId="{447C76E1-E241-4AD8-95A7-8441341F7E52}" type="parTrans" cxnId="{37786D6F-376D-4357-AE9D-6293CFB89315}">
      <dgm:prSet/>
      <dgm:spPr/>
      <dgm:t>
        <a:bodyPr/>
        <a:lstStyle/>
        <a:p>
          <a:endParaRPr lang="en-US"/>
        </a:p>
      </dgm:t>
    </dgm:pt>
    <dgm:pt modelId="{9E898410-BC78-493F-B118-B2C5E985B297}" type="sibTrans" cxnId="{37786D6F-376D-4357-AE9D-6293CFB89315}">
      <dgm:prSet/>
      <dgm:spPr/>
      <dgm:t>
        <a:bodyPr/>
        <a:lstStyle/>
        <a:p>
          <a:endParaRPr lang="en-US"/>
        </a:p>
      </dgm:t>
    </dgm:pt>
    <dgm:pt modelId="{23B50714-0509-4642-A7B1-89D393B513F5}">
      <dgm:prSet/>
      <dgm:spPr/>
      <dgm:t>
        <a:bodyPr/>
        <a:lstStyle/>
        <a:p>
          <a:pPr rtl="0"/>
          <a:r>
            <a:rPr lang="en-CA" dirty="0"/>
            <a:t>window menu</a:t>
          </a:r>
        </a:p>
      </dgm:t>
    </dgm:pt>
    <dgm:pt modelId="{04DE2E30-4ABD-D44A-91B7-D41C73905A4A}" type="parTrans" cxnId="{38D3E360-6B7F-3F4D-97AC-D16601442BD8}">
      <dgm:prSet/>
      <dgm:spPr/>
      <dgm:t>
        <a:bodyPr/>
        <a:lstStyle/>
        <a:p>
          <a:endParaRPr lang="en-CA"/>
        </a:p>
      </dgm:t>
    </dgm:pt>
    <dgm:pt modelId="{BD808240-02A6-B741-8242-1DD5D6CD3911}" type="sibTrans" cxnId="{38D3E360-6B7F-3F4D-97AC-D16601442BD8}">
      <dgm:prSet/>
      <dgm:spPr/>
      <dgm:t>
        <a:bodyPr/>
        <a:lstStyle/>
        <a:p>
          <a:endParaRPr lang="en-CA"/>
        </a:p>
      </dgm:t>
    </dgm:pt>
    <dgm:pt modelId="{91C9005D-057D-494E-8A8F-33EBAEA63E39}">
      <dgm:prSet custT="1"/>
      <dgm:spPr/>
      <dgm:t>
        <a:bodyPr/>
        <a:lstStyle/>
        <a:p>
          <a:pPr rtl="0"/>
          <a:r>
            <a:rPr lang="en-CA" sz="2400" dirty="0"/>
            <a:t>multiple monitors</a:t>
          </a:r>
        </a:p>
      </dgm:t>
    </dgm:pt>
    <dgm:pt modelId="{D00A60DF-23E3-8548-A5AF-36F4ED07B048}" type="parTrans" cxnId="{2B23F4D3-3E3B-2745-BD66-2C627844B54D}">
      <dgm:prSet/>
      <dgm:spPr/>
      <dgm:t>
        <a:bodyPr/>
        <a:lstStyle/>
        <a:p>
          <a:endParaRPr lang="en-CA"/>
        </a:p>
      </dgm:t>
    </dgm:pt>
    <dgm:pt modelId="{82ACE0BA-A47F-244D-A099-EFA5B3BF9B20}" type="sibTrans" cxnId="{2B23F4D3-3E3B-2745-BD66-2C627844B54D}">
      <dgm:prSet/>
      <dgm:spPr/>
      <dgm:t>
        <a:bodyPr/>
        <a:lstStyle/>
        <a:p>
          <a:endParaRPr lang="en-CA"/>
        </a:p>
      </dgm:t>
    </dgm:pt>
    <dgm:pt modelId="{79EA1DF4-2E79-4E47-9205-2B9724EED28F}">
      <dgm:prSet custT="1"/>
      <dgm:spPr/>
      <dgm:t>
        <a:bodyPr/>
        <a:lstStyle/>
        <a:p>
          <a:pPr rtl="0"/>
          <a:r>
            <a:rPr lang="en-CA" sz="2400" dirty="0"/>
            <a:t>quick icons</a:t>
          </a:r>
        </a:p>
      </dgm:t>
    </dgm:pt>
    <dgm:pt modelId="{963380A3-4580-8C49-81CA-E5A6A0415CF3}" type="parTrans" cxnId="{90C02F80-0735-1645-8E06-46C41655E386}">
      <dgm:prSet/>
      <dgm:spPr/>
      <dgm:t>
        <a:bodyPr/>
        <a:lstStyle/>
        <a:p>
          <a:endParaRPr lang="en-CA"/>
        </a:p>
      </dgm:t>
    </dgm:pt>
    <dgm:pt modelId="{8A9F82E9-9D6B-D045-A71A-150CB955965F}" type="sibTrans" cxnId="{90C02F80-0735-1645-8E06-46C41655E386}">
      <dgm:prSet/>
      <dgm:spPr/>
      <dgm:t>
        <a:bodyPr/>
        <a:lstStyle/>
        <a:p>
          <a:endParaRPr lang="en-CA"/>
        </a:p>
      </dgm:t>
    </dgm:pt>
    <dgm:pt modelId="{8106D978-6DC2-3D4D-800C-7BBC5027318D}" type="pres">
      <dgm:prSet presAssocID="{02BA0D8E-884F-D545-BFF7-95207C181DAB}" presName="vert0" presStyleCnt="0">
        <dgm:presLayoutVars>
          <dgm:dir/>
          <dgm:animOne val="branch"/>
          <dgm:animLvl val="lvl"/>
        </dgm:presLayoutVars>
      </dgm:prSet>
      <dgm:spPr/>
    </dgm:pt>
    <dgm:pt modelId="{E8E2BC39-5C94-2B4B-BBF5-8C89F96487A0}" type="pres">
      <dgm:prSet presAssocID="{CF0461F7-EC97-BB41-A574-9C1E3009EACC}" presName="thickLine" presStyleLbl="alignNode1" presStyleIdx="0" presStyleCnt="3"/>
      <dgm:spPr/>
    </dgm:pt>
    <dgm:pt modelId="{E0E56F12-7A82-3F4B-980C-DA50948869B6}" type="pres">
      <dgm:prSet presAssocID="{CF0461F7-EC97-BB41-A574-9C1E3009EACC}" presName="horz1" presStyleCnt="0"/>
      <dgm:spPr/>
    </dgm:pt>
    <dgm:pt modelId="{64D1DAEC-0420-DE42-8AEF-CD19A402E296}" type="pres">
      <dgm:prSet presAssocID="{CF0461F7-EC97-BB41-A574-9C1E3009EACC}" presName="tx1" presStyleLbl="revTx" presStyleIdx="0" presStyleCnt="6"/>
      <dgm:spPr/>
    </dgm:pt>
    <dgm:pt modelId="{D97C7569-9BF3-7A4F-ABB5-4513CC4B90CC}" type="pres">
      <dgm:prSet presAssocID="{CF0461F7-EC97-BB41-A574-9C1E3009EACC}" presName="vert1" presStyleCnt="0"/>
      <dgm:spPr/>
    </dgm:pt>
    <dgm:pt modelId="{D7288663-AC8A-C244-A049-6215F8658404}" type="pres">
      <dgm:prSet presAssocID="{2EBE6179-CCAA-43B4-99D0-D1FBD8338CDA}" presName="vertSpace2a" presStyleCnt="0"/>
      <dgm:spPr/>
    </dgm:pt>
    <dgm:pt modelId="{9CB849F3-1F37-A448-9822-4A41246DF59C}" type="pres">
      <dgm:prSet presAssocID="{2EBE6179-CCAA-43B4-99D0-D1FBD8338CDA}" presName="horz2" presStyleCnt="0"/>
      <dgm:spPr/>
    </dgm:pt>
    <dgm:pt modelId="{5CBC8336-6F6C-AB45-A273-472809EB9E18}" type="pres">
      <dgm:prSet presAssocID="{2EBE6179-CCAA-43B4-99D0-D1FBD8338CDA}" presName="horzSpace2" presStyleCnt="0"/>
      <dgm:spPr/>
    </dgm:pt>
    <dgm:pt modelId="{ADA81D2F-7E4C-2B4F-88B0-6E4B9B3C8CE8}" type="pres">
      <dgm:prSet presAssocID="{2EBE6179-CCAA-43B4-99D0-D1FBD8338CDA}" presName="tx2" presStyleLbl="revTx" presStyleIdx="1" presStyleCnt="6"/>
      <dgm:spPr/>
    </dgm:pt>
    <dgm:pt modelId="{A451F989-D2A0-C440-941D-31CBEF613C64}" type="pres">
      <dgm:prSet presAssocID="{2EBE6179-CCAA-43B4-99D0-D1FBD8338CDA}" presName="vert2" presStyleCnt="0"/>
      <dgm:spPr/>
    </dgm:pt>
    <dgm:pt modelId="{F9CE2717-3C4C-9D4A-8831-2D26FBD5F034}" type="pres">
      <dgm:prSet presAssocID="{2EBE6179-CCAA-43B4-99D0-D1FBD8338CDA}" presName="thinLine2b" presStyleLbl="callout" presStyleIdx="0" presStyleCnt="3"/>
      <dgm:spPr/>
    </dgm:pt>
    <dgm:pt modelId="{61284854-E55F-7E40-A797-E0ACC82A33B5}" type="pres">
      <dgm:prSet presAssocID="{2EBE6179-CCAA-43B4-99D0-D1FBD8338CDA}" presName="vertSpace2b" presStyleCnt="0"/>
      <dgm:spPr/>
    </dgm:pt>
    <dgm:pt modelId="{FD8096A1-10D7-3441-9943-93A898F7F722}" type="pres">
      <dgm:prSet presAssocID="{982763B2-4EB1-43A4-921A-B736A78FCF32}" presName="thickLine" presStyleLbl="alignNode1" presStyleIdx="1" presStyleCnt="3"/>
      <dgm:spPr/>
    </dgm:pt>
    <dgm:pt modelId="{D80E244B-AA54-4241-AFC8-DAE273BB08B4}" type="pres">
      <dgm:prSet presAssocID="{982763B2-4EB1-43A4-921A-B736A78FCF32}" presName="horz1" presStyleCnt="0"/>
      <dgm:spPr/>
    </dgm:pt>
    <dgm:pt modelId="{6F6287CB-5BF3-304A-A649-7483C87ABE2F}" type="pres">
      <dgm:prSet presAssocID="{982763B2-4EB1-43A4-921A-B736A78FCF32}" presName="tx1" presStyleLbl="revTx" presStyleIdx="2" presStyleCnt="6"/>
      <dgm:spPr/>
    </dgm:pt>
    <dgm:pt modelId="{49707CC7-9490-D64B-BAC7-1CC019BD3B16}" type="pres">
      <dgm:prSet presAssocID="{982763B2-4EB1-43A4-921A-B736A78FCF32}" presName="vert1" presStyleCnt="0"/>
      <dgm:spPr/>
    </dgm:pt>
    <dgm:pt modelId="{4FA3CDBE-C10F-474E-881F-AE53D1DE76F0}" type="pres">
      <dgm:prSet presAssocID="{91C9005D-057D-494E-8A8F-33EBAEA63E39}" presName="vertSpace2a" presStyleCnt="0"/>
      <dgm:spPr/>
    </dgm:pt>
    <dgm:pt modelId="{D763366F-5CF8-2641-BDA2-9A71985C3FDF}" type="pres">
      <dgm:prSet presAssocID="{91C9005D-057D-494E-8A8F-33EBAEA63E39}" presName="horz2" presStyleCnt="0"/>
      <dgm:spPr/>
    </dgm:pt>
    <dgm:pt modelId="{CA016253-B11C-6747-8395-01F17E762F73}" type="pres">
      <dgm:prSet presAssocID="{91C9005D-057D-494E-8A8F-33EBAEA63E39}" presName="horzSpace2" presStyleCnt="0"/>
      <dgm:spPr/>
    </dgm:pt>
    <dgm:pt modelId="{CE6424F2-105F-794D-9553-7B364BD28EDF}" type="pres">
      <dgm:prSet presAssocID="{91C9005D-057D-494E-8A8F-33EBAEA63E39}" presName="tx2" presStyleLbl="revTx" presStyleIdx="3" presStyleCnt="6"/>
      <dgm:spPr/>
    </dgm:pt>
    <dgm:pt modelId="{04296A07-3E4E-5547-91F7-222B275AEE1C}" type="pres">
      <dgm:prSet presAssocID="{91C9005D-057D-494E-8A8F-33EBAEA63E39}" presName="vert2" presStyleCnt="0"/>
      <dgm:spPr/>
    </dgm:pt>
    <dgm:pt modelId="{8DB6BEAF-2F12-F248-A793-AF862582B643}" type="pres">
      <dgm:prSet presAssocID="{91C9005D-057D-494E-8A8F-33EBAEA63E39}" presName="thinLine2b" presStyleLbl="callout" presStyleIdx="1" presStyleCnt="3"/>
      <dgm:spPr/>
    </dgm:pt>
    <dgm:pt modelId="{F6FB89D7-C264-A140-AD7A-7058BB394CF3}" type="pres">
      <dgm:prSet presAssocID="{91C9005D-057D-494E-8A8F-33EBAEA63E39}" presName="vertSpace2b" presStyleCnt="0"/>
      <dgm:spPr/>
    </dgm:pt>
    <dgm:pt modelId="{3FE6A6DF-0239-D148-A2EC-C5A045C611C3}" type="pres">
      <dgm:prSet presAssocID="{23B50714-0509-4642-A7B1-89D393B513F5}" presName="thickLine" presStyleLbl="alignNode1" presStyleIdx="2" presStyleCnt="3"/>
      <dgm:spPr/>
    </dgm:pt>
    <dgm:pt modelId="{D259FDAF-59B7-F841-9678-C5FE03B1DD90}" type="pres">
      <dgm:prSet presAssocID="{23B50714-0509-4642-A7B1-89D393B513F5}" presName="horz1" presStyleCnt="0"/>
      <dgm:spPr/>
    </dgm:pt>
    <dgm:pt modelId="{0E7E3535-908E-F54B-BFE0-06173A58352A}" type="pres">
      <dgm:prSet presAssocID="{23B50714-0509-4642-A7B1-89D393B513F5}" presName="tx1" presStyleLbl="revTx" presStyleIdx="4" presStyleCnt="6"/>
      <dgm:spPr/>
    </dgm:pt>
    <dgm:pt modelId="{5A9E95E4-7F42-D343-9344-83560D43A9FB}" type="pres">
      <dgm:prSet presAssocID="{23B50714-0509-4642-A7B1-89D393B513F5}" presName="vert1" presStyleCnt="0"/>
      <dgm:spPr/>
    </dgm:pt>
    <dgm:pt modelId="{090AFDA8-689C-2B48-A2C8-38A6DB71DF86}" type="pres">
      <dgm:prSet presAssocID="{79EA1DF4-2E79-4E47-9205-2B9724EED28F}" presName="vertSpace2a" presStyleCnt="0"/>
      <dgm:spPr/>
    </dgm:pt>
    <dgm:pt modelId="{8263CB77-AA97-4B49-A9AB-0849B3C70575}" type="pres">
      <dgm:prSet presAssocID="{79EA1DF4-2E79-4E47-9205-2B9724EED28F}" presName="horz2" presStyleCnt="0"/>
      <dgm:spPr/>
    </dgm:pt>
    <dgm:pt modelId="{EAE52725-F83F-7A48-88C2-67B638CA3B5B}" type="pres">
      <dgm:prSet presAssocID="{79EA1DF4-2E79-4E47-9205-2B9724EED28F}" presName="horzSpace2" presStyleCnt="0"/>
      <dgm:spPr/>
    </dgm:pt>
    <dgm:pt modelId="{0243B2F1-8B4B-CD4D-A702-B931AC45B4D1}" type="pres">
      <dgm:prSet presAssocID="{79EA1DF4-2E79-4E47-9205-2B9724EED28F}" presName="tx2" presStyleLbl="revTx" presStyleIdx="5" presStyleCnt="6"/>
      <dgm:spPr/>
    </dgm:pt>
    <dgm:pt modelId="{145A3896-4223-B14D-860B-89335DECFCF7}" type="pres">
      <dgm:prSet presAssocID="{79EA1DF4-2E79-4E47-9205-2B9724EED28F}" presName="vert2" presStyleCnt="0"/>
      <dgm:spPr/>
    </dgm:pt>
    <dgm:pt modelId="{5F57A184-C459-FF43-9279-8330E04C4232}" type="pres">
      <dgm:prSet presAssocID="{79EA1DF4-2E79-4E47-9205-2B9724EED28F}" presName="thinLine2b" presStyleLbl="callout" presStyleIdx="2" presStyleCnt="3"/>
      <dgm:spPr/>
    </dgm:pt>
    <dgm:pt modelId="{4EBD4996-0167-114C-911D-E6FAF966A0E2}" type="pres">
      <dgm:prSet presAssocID="{79EA1DF4-2E79-4E47-9205-2B9724EED28F}" presName="vertSpace2b" presStyleCnt="0"/>
      <dgm:spPr/>
    </dgm:pt>
  </dgm:ptLst>
  <dgm:cxnLst>
    <dgm:cxn modelId="{245DC356-D5D0-5047-ABA1-117B9A5AA1F8}" type="presOf" srcId="{91C9005D-057D-494E-8A8F-33EBAEA63E39}" destId="{CE6424F2-105F-794D-9553-7B364BD28EDF}" srcOrd="0" destOrd="0" presId="urn:microsoft.com/office/officeart/2008/layout/LinedList"/>
    <dgm:cxn modelId="{38D3E360-6B7F-3F4D-97AC-D16601442BD8}" srcId="{02BA0D8E-884F-D545-BFF7-95207C181DAB}" destId="{23B50714-0509-4642-A7B1-89D393B513F5}" srcOrd="2" destOrd="0" parTransId="{04DE2E30-4ABD-D44A-91B7-D41C73905A4A}" sibTransId="{BD808240-02A6-B741-8242-1DD5D6CD3911}"/>
    <dgm:cxn modelId="{614BE364-A278-9D4A-A9CA-3DBB9D9FAD28}" type="presOf" srcId="{CF0461F7-EC97-BB41-A574-9C1E3009EACC}" destId="{64D1DAEC-0420-DE42-8AEF-CD19A402E296}" srcOrd="0" destOrd="0" presId="urn:microsoft.com/office/officeart/2008/layout/LinedList"/>
    <dgm:cxn modelId="{37786D6F-376D-4357-AE9D-6293CFB89315}" srcId="{02BA0D8E-884F-D545-BFF7-95207C181DAB}" destId="{982763B2-4EB1-43A4-921A-B736A78FCF32}" srcOrd="1" destOrd="0" parTransId="{447C76E1-E241-4AD8-95A7-8441341F7E52}" sibTransId="{9E898410-BC78-493F-B118-B2C5E985B297}"/>
    <dgm:cxn modelId="{3B1FED6F-0576-644D-B0C4-3CCC479EE6BE}" type="presOf" srcId="{982763B2-4EB1-43A4-921A-B736A78FCF32}" destId="{6F6287CB-5BF3-304A-A649-7483C87ABE2F}" srcOrd="0" destOrd="0" presId="urn:microsoft.com/office/officeart/2008/layout/LinedList"/>
    <dgm:cxn modelId="{90C02F80-0735-1645-8E06-46C41655E386}" srcId="{23B50714-0509-4642-A7B1-89D393B513F5}" destId="{79EA1DF4-2E79-4E47-9205-2B9724EED28F}" srcOrd="0" destOrd="0" parTransId="{963380A3-4580-8C49-81CA-E5A6A0415CF3}" sibTransId="{8A9F82E9-9D6B-D045-A71A-150CB955965F}"/>
    <dgm:cxn modelId="{F28E4485-4EE9-7746-A911-C2A8896F590F}" type="presOf" srcId="{02BA0D8E-884F-D545-BFF7-95207C181DAB}" destId="{8106D978-6DC2-3D4D-800C-7BBC5027318D}"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664686B3-0591-457A-8E78-49FDEC1F11D0}" srcId="{CF0461F7-EC97-BB41-A574-9C1E3009EACC}" destId="{2EBE6179-CCAA-43B4-99D0-D1FBD8338CDA}" srcOrd="0" destOrd="0" parTransId="{CCE85E25-12D3-40B9-9060-C08805620193}" sibTransId="{A3C2D95F-49C9-4903-9AEC-101A97E2106F}"/>
    <dgm:cxn modelId="{13D3ACBA-0F52-4F4C-953C-24978FEB404F}" type="presOf" srcId="{79EA1DF4-2E79-4E47-9205-2B9724EED28F}" destId="{0243B2F1-8B4B-CD4D-A702-B931AC45B4D1}" srcOrd="0" destOrd="0" presId="urn:microsoft.com/office/officeart/2008/layout/LinedList"/>
    <dgm:cxn modelId="{69F225C1-9742-C14D-BD94-6AA5D4F9DED0}" type="presOf" srcId="{23B50714-0509-4642-A7B1-89D393B513F5}" destId="{0E7E3535-908E-F54B-BFE0-06173A58352A}" srcOrd="0" destOrd="0" presId="urn:microsoft.com/office/officeart/2008/layout/LinedList"/>
    <dgm:cxn modelId="{D66E50CA-2B30-A149-890F-6E542241327C}" type="presOf" srcId="{2EBE6179-CCAA-43B4-99D0-D1FBD8338CDA}" destId="{ADA81D2F-7E4C-2B4F-88B0-6E4B9B3C8CE8}" srcOrd="0" destOrd="0" presId="urn:microsoft.com/office/officeart/2008/layout/LinedList"/>
    <dgm:cxn modelId="{2B23F4D3-3E3B-2745-BD66-2C627844B54D}" srcId="{982763B2-4EB1-43A4-921A-B736A78FCF32}" destId="{91C9005D-057D-494E-8A8F-33EBAEA63E39}" srcOrd="0" destOrd="0" parTransId="{D00A60DF-23E3-8548-A5AF-36F4ED07B048}" sibTransId="{82ACE0BA-A47F-244D-A099-EFA5B3BF9B20}"/>
    <dgm:cxn modelId="{EC64FD4A-8A07-EB45-BA50-B7B535E7CA61}" type="presParOf" srcId="{8106D978-6DC2-3D4D-800C-7BBC5027318D}" destId="{E8E2BC39-5C94-2B4B-BBF5-8C89F96487A0}" srcOrd="0" destOrd="0" presId="urn:microsoft.com/office/officeart/2008/layout/LinedList"/>
    <dgm:cxn modelId="{57E483F2-E424-0244-A9EC-246ACE810076}" type="presParOf" srcId="{8106D978-6DC2-3D4D-800C-7BBC5027318D}" destId="{E0E56F12-7A82-3F4B-980C-DA50948869B6}" srcOrd="1" destOrd="0" presId="urn:microsoft.com/office/officeart/2008/layout/LinedList"/>
    <dgm:cxn modelId="{D74FDFDE-912A-2446-A386-BE94FE5763EE}" type="presParOf" srcId="{E0E56F12-7A82-3F4B-980C-DA50948869B6}" destId="{64D1DAEC-0420-DE42-8AEF-CD19A402E296}" srcOrd="0" destOrd="0" presId="urn:microsoft.com/office/officeart/2008/layout/LinedList"/>
    <dgm:cxn modelId="{9A7595ED-E021-5540-B901-26184FD879A7}" type="presParOf" srcId="{E0E56F12-7A82-3F4B-980C-DA50948869B6}" destId="{D97C7569-9BF3-7A4F-ABB5-4513CC4B90CC}" srcOrd="1" destOrd="0" presId="urn:microsoft.com/office/officeart/2008/layout/LinedList"/>
    <dgm:cxn modelId="{1410F8E4-8216-584C-9F19-EECB385D3EE8}" type="presParOf" srcId="{D97C7569-9BF3-7A4F-ABB5-4513CC4B90CC}" destId="{D7288663-AC8A-C244-A049-6215F8658404}" srcOrd="0" destOrd="0" presId="urn:microsoft.com/office/officeart/2008/layout/LinedList"/>
    <dgm:cxn modelId="{08B37625-F711-A34E-A859-33EFC6D46BCB}" type="presParOf" srcId="{D97C7569-9BF3-7A4F-ABB5-4513CC4B90CC}" destId="{9CB849F3-1F37-A448-9822-4A41246DF59C}" srcOrd="1" destOrd="0" presId="urn:microsoft.com/office/officeart/2008/layout/LinedList"/>
    <dgm:cxn modelId="{B47AB526-A21E-FD4B-A4FF-C904259137E9}" type="presParOf" srcId="{9CB849F3-1F37-A448-9822-4A41246DF59C}" destId="{5CBC8336-6F6C-AB45-A273-472809EB9E18}" srcOrd="0" destOrd="0" presId="urn:microsoft.com/office/officeart/2008/layout/LinedList"/>
    <dgm:cxn modelId="{B09930E3-5009-FE49-811E-791F860106E3}" type="presParOf" srcId="{9CB849F3-1F37-A448-9822-4A41246DF59C}" destId="{ADA81D2F-7E4C-2B4F-88B0-6E4B9B3C8CE8}" srcOrd="1" destOrd="0" presId="urn:microsoft.com/office/officeart/2008/layout/LinedList"/>
    <dgm:cxn modelId="{3EE27908-C8B9-CA46-AB7E-C2C80CA27A3F}" type="presParOf" srcId="{9CB849F3-1F37-A448-9822-4A41246DF59C}" destId="{A451F989-D2A0-C440-941D-31CBEF613C64}" srcOrd="2" destOrd="0" presId="urn:microsoft.com/office/officeart/2008/layout/LinedList"/>
    <dgm:cxn modelId="{0D8C844A-00CF-7A40-ABB4-8B54A4FED48A}" type="presParOf" srcId="{D97C7569-9BF3-7A4F-ABB5-4513CC4B90CC}" destId="{F9CE2717-3C4C-9D4A-8831-2D26FBD5F034}" srcOrd="2" destOrd="0" presId="urn:microsoft.com/office/officeart/2008/layout/LinedList"/>
    <dgm:cxn modelId="{2E629554-9697-E345-AEDA-FC69CC21EDC7}" type="presParOf" srcId="{D97C7569-9BF3-7A4F-ABB5-4513CC4B90CC}" destId="{61284854-E55F-7E40-A797-E0ACC82A33B5}" srcOrd="3" destOrd="0" presId="urn:microsoft.com/office/officeart/2008/layout/LinedList"/>
    <dgm:cxn modelId="{9DD8E098-0604-534B-9A71-2A439EF01679}" type="presParOf" srcId="{8106D978-6DC2-3D4D-800C-7BBC5027318D}" destId="{FD8096A1-10D7-3441-9943-93A898F7F722}" srcOrd="2" destOrd="0" presId="urn:microsoft.com/office/officeart/2008/layout/LinedList"/>
    <dgm:cxn modelId="{6EFE28A1-7C76-8548-8F3C-E994D2F9504C}" type="presParOf" srcId="{8106D978-6DC2-3D4D-800C-7BBC5027318D}" destId="{D80E244B-AA54-4241-AFC8-DAE273BB08B4}" srcOrd="3" destOrd="0" presId="urn:microsoft.com/office/officeart/2008/layout/LinedList"/>
    <dgm:cxn modelId="{B5DA7D65-615D-2B4D-BC14-A7A569AA6620}" type="presParOf" srcId="{D80E244B-AA54-4241-AFC8-DAE273BB08B4}" destId="{6F6287CB-5BF3-304A-A649-7483C87ABE2F}" srcOrd="0" destOrd="0" presId="urn:microsoft.com/office/officeart/2008/layout/LinedList"/>
    <dgm:cxn modelId="{B481DE27-7E7D-1949-9B6F-033973BCC01E}" type="presParOf" srcId="{D80E244B-AA54-4241-AFC8-DAE273BB08B4}" destId="{49707CC7-9490-D64B-BAC7-1CC019BD3B16}" srcOrd="1" destOrd="0" presId="urn:microsoft.com/office/officeart/2008/layout/LinedList"/>
    <dgm:cxn modelId="{5AC09CE4-954F-6C4A-A439-F20F5C400E41}" type="presParOf" srcId="{49707CC7-9490-D64B-BAC7-1CC019BD3B16}" destId="{4FA3CDBE-C10F-474E-881F-AE53D1DE76F0}" srcOrd="0" destOrd="0" presId="urn:microsoft.com/office/officeart/2008/layout/LinedList"/>
    <dgm:cxn modelId="{417DA004-F97B-794E-8F2F-AE192BEEED67}" type="presParOf" srcId="{49707CC7-9490-D64B-BAC7-1CC019BD3B16}" destId="{D763366F-5CF8-2641-BDA2-9A71985C3FDF}" srcOrd="1" destOrd="0" presId="urn:microsoft.com/office/officeart/2008/layout/LinedList"/>
    <dgm:cxn modelId="{6B26A6F8-EDD9-5B41-9843-9FBD0F89A146}" type="presParOf" srcId="{D763366F-5CF8-2641-BDA2-9A71985C3FDF}" destId="{CA016253-B11C-6747-8395-01F17E762F73}" srcOrd="0" destOrd="0" presId="urn:microsoft.com/office/officeart/2008/layout/LinedList"/>
    <dgm:cxn modelId="{66BEA014-C7B5-3646-BB8B-5AF6E3997011}" type="presParOf" srcId="{D763366F-5CF8-2641-BDA2-9A71985C3FDF}" destId="{CE6424F2-105F-794D-9553-7B364BD28EDF}" srcOrd="1" destOrd="0" presId="urn:microsoft.com/office/officeart/2008/layout/LinedList"/>
    <dgm:cxn modelId="{E256F07F-A893-2541-B195-8AA2189D6B21}" type="presParOf" srcId="{D763366F-5CF8-2641-BDA2-9A71985C3FDF}" destId="{04296A07-3E4E-5547-91F7-222B275AEE1C}" srcOrd="2" destOrd="0" presId="urn:microsoft.com/office/officeart/2008/layout/LinedList"/>
    <dgm:cxn modelId="{0764600E-C672-6B46-8DF1-9D34322CE8E7}" type="presParOf" srcId="{49707CC7-9490-D64B-BAC7-1CC019BD3B16}" destId="{8DB6BEAF-2F12-F248-A793-AF862582B643}" srcOrd="2" destOrd="0" presId="urn:microsoft.com/office/officeart/2008/layout/LinedList"/>
    <dgm:cxn modelId="{BF3D7C56-7878-4743-90A8-20C3FD9B0B0E}" type="presParOf" srcId="{49707CC7-9490-D64B-BAC7-1CC019BD3B16}" destId="{F6FB89D7-C264-A140-AD7A-7058BB394CF3}" srcOrd="3" destOrd="0" presId="urn:microsoft.com/office/officeart/2008/layout/LinedList"/>
    <dgm:cxn modelId="{03C3BB29-80D7-6244-9BD8-FBFEE2411F0C}" type="presParOf" srcId="{8106D978-6DC2-3D4D-800C-7BBC5027318D}" destId="{3FE6A6DF-0239-D148-A2EC-C5A045C611C3}" srcOrd="4" destOrd="0" presId="urn:microsoft.com/office/officeart/2008/layout/LinedList"/>
    <dgm:cxn modelId="{1171192A-E058-5849-98D4-A78BC67F669B}" type="presParOf" srcId="{8106D978-6DC2-3D4D-800C-7BBC5027318D}" destId="{D259FDAF-59B7-F841-9678-C5FE03B1DD90}" srcOrd="5" destOrd="0" presId="urn:microsoft.com/office/officeart/2008/layout/LinedList"/>
    <dgm:cxn modelId="{627A958B-AD6D-D549-A283-3F8D9ED75219}" type="presParOf" srcId="{D259FDAF-59B7-F841-9678-C5FE03B1DD90}" destId="{0E7E3535-908E-F54B-BFE0-06173A58352A}" srcOrd="0" destOrd="0" presId="urn:microsoft.com/office/officeart/2008/layout/LinedList"/>
    <dgm:cxn modelId="{99ED300D-61E3-6E43-B7C8-BF9C2A94546B}" type="presParOf" srcId="{D259FDAF-59B7-F841-9678-C5FE03B1DD90}" destId="{5A9E95E4-7F42-D343-9344-83560D43A9FB}" srcOrd="1" destOrd="0" presId="urn:microsoft.com/office/officeart/2008/layout/LinedList"/>
    <dgm:cxn modelId="{9D914C26-3173-7C4B-BC92-D6FC8A12BF85}" type="presParOf" srcId="{5A9E95E4-7F42-D343-9344-83560D43A9FB}" destId="{090AFDA8-689C-2B48-A2C8-38A6DB71DF86}" srcOrd="0" destOrd="0" presId="urn:microsoft.com/office/officeart/2008/layout/LinedList"/>
    <dgm:cxn modelId="{AA50653D-68DA-3E4A-8573-804688ABE2D7}" type="presParOf" srcId="{5A9E95E4-7F42-D343-9344-83560D43A9FB}" destId="{8263CB77-AA97-4B49-A9AB-0849B3C70575}" srcOrd="1" destOrd="0" presId="urn:microsoft.com/office/officeart/2008/layout/LinedList"/>
    <dgm:cxn modelId="{F84AD72B-8B50-A947-B4E6-CAC2DF5BCEF8}" type="presParOf" srcId="{8263CB77-AA97-4B49-A9AB-0849B3C70575}" destId="{EAE52725-F83F-7A48-88C2-67B638CA3B5B}" srcOrd="0" destOrd="0" presId="urn:microsoft.com/office/officeart/2008/layout/LinedList"/>
    <dgm:cxn modelId="{34FF01EF-8DD2-854A-9767-8347F85BE619}" type="presParOf" srcId="{8263CB77-AA97-4B49-A9AB-0849B3C70575}" destId="{0243B2F1-8B4B-CD4D-A702-B931AC45B4D1}" srcOrd="1" destOrd="0" presId="urn:microsoft.com/office/officeart/2008/layout/LinedList"/>
    <dgm:cxn modelId="{5B0574E1-791C-F04C-9D48-ED5F0272CD41}" type="presParOf" srcId="{8263CB77-AA97-4B49-A9AB-0849B3C70575}" destId="{145A3896-4223-B14D-860B-89335DECFCF7}" srcOrd="2" destOrd="0" presId="urn:microsoft.com/office/officeart/2008/layout/LinedList"/>
    <dgm:cxn modelId="{197AA3BD-52B3-3944-BA93-F44D33EEB55C}" type="presParOf" srcId="{5A9E95E4-7F42-D343-9344-83560D43A9FB}" destId="{5F57A184-C459-FF43-9279-8330E04C4232}" srcOrd="2" destOrd="0" presId="urn:microsoft.com/office/officeart/2008/layout/LinedList"/>
    <dgm:cxn modelId="{9140DC2F-F893-3741-BB69-769DC3BFF7C6}" type="presParOf" srcId="{5A9E95E4-7F42-D343-9344-83560D43A9FB}" destId="{4EBD4996-0167-114C-911D-E6FAF966A0E2}" srcOrd="3"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th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pt>
  </dgm:ptLst>
  <dgm:cxnLst>
    <dgm:cxn modelId="{7276CC42-7517-A845-AED4-65D6D7160D4E}" type="presOf" srcId="{C7F8E31E-1B1C-F149-9A39-566188585147}" destId="{D318CF66-E904-4B8F-9EF2-32A9C2878F07}" srcOrd="0" destOrd="0" presId="urn:microsoft.com/office/officeart/2005/8/layout/vList2"/>
    <dgm:cxn modelId="{9E9A017A-0B11-234B-94DC-482FCC305960}" type="presOf" srcId="{7BC2DB20-EFFD-4E7B-93C1-553BACDC4218}" destId="{CFD475EB-E371-4E1B-B52F-2330D78E893F}"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D93ADAEB-9E53-CD47-93E3-ADFA68DB8844}"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a:t>
          </a:r>
        </a:p>
        <a:p>
          <a:r>
            <a:rPr lang="en-US" dirty="0"/>
            <a:t>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1D6697C3-AE97-1845-B11C-5BCA3A617671}" type="presOf" srcId="{5D62F0D9-F62E-470E-86C1-99BBA8E85072}" destId="{8A46F5DD-BBB3-4FA2-8F4F-67830FF58BA8}" srcOrd="0" destOrd="0" presId="urn:microsoft.com/office/officeart/2005/8/layout/cycle2"/>
    <dgm:cxn modelId="{E842D9CB-BB94-8E4F-9063-A56E4463D56A}"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500A196-D968-E24D-867B-6E5487EB11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passiv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6001" custLinFactNeighborY="69178">
        <dgm:presLayoutVars>
          <dgm:chMax val="0"/>
          <dgm:bulletEnabled val="1"/>
        </dgm:presLayoutVars>
      </dgm:prSet>
      <dgm:spPr/>
    </dgm:pt>
  </dgm:ptLst>
  <dgm:cxnLst>
    <dgm:cxn modelId="{ED875C46-B1FF-B54C-9B55-BB90D2EAEBF6}" type="presOf" srcId="{C7F8E31E-1B1C-F149-9A39-566188585147}" destId="{D318CF66-E904-4B8F-9EF2-32A9C2878F07}" srcOrd="0" destOrd="0" presId="urn:microsoft.com/office/officeart/2005/8/layout/vList2"/>
    <dgm:cxn modelId="{12943871-339F-C448-BA0B-A4EA25F54945}" type="presOf" srcId="{7BC2DB20-EFFD-4E7B-93C1-553BACDC4218}" destId="{CFD475EB-E371-4E1B-B52F-2330D78E893F}"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07329F56-D967-854D-9D2F-8AF07452F1E9}"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A8E29039-B88A-E446-BBDD-913E150382E1}" type="presOf" srcId="{9DF463DA-C321-47BB-A748-44B5D722BDE4}" destId="{03D7DCAF-0535-410C-B056-000B4ED11701}" srcOrd="0" destOrd="0" presId="urn:microsoft.com/office/officeart/2005/8/layout/cycle2"/>
    <dgm:cxn modelId="{B1463D69-22F6-FE4B-B6F6-0C5235346635}"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6B81EFDE-5F70-474C-AAAA-D8B9CE54258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the activ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pt>
  </dgm:ptLst>
  <dgm:cxnLst>
    <dgm:cxn modelId="{BC01D10A-1C2D-4446-8E99-45C0487CD7F3}" type="presOf" srcId="{C7F8E31E-1B1C-F149-9A39-566188585147}" destId="{D318CF66-E904-4B8F-9EF2-32A9C2878F07}" srcOrd="0" destOrd="0" presId="urn:microsoft.com/office/officeart/2005/8/layout/vList2"/>
    <dgm:cxn modelId="{FEBC1B96-FD53-E248-8388-99728BD3DC57}" type="presOf" srcId="{7BC2DB20-EFFD-4E7B-93C1-553BACDC4218}" destId="{CFD475EB-E371-4E1B-B52F-2330D78E893F}"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3CAF7A27-FC0A-D04A-9600-F1A39C4E567E}"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5</a:t>
          </a:r>
        </a:p>
      </dsp:txBody>
      <dsp:txXfrm>
        <a:off x="436926" y="196974"/>
        <a:ext cx="949190" cy="9491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9</a:t>
          </a:r>
        </a:p>
      </dsp:txBody>
      <dsp:txXfrm>
        <a:off x="436926" y="196974"/>
        <a:ext cx="949190" cy="94919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602493"/>
          <a:ext cx="2776353"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personalizing the auditor</a:t>
          </a:r>
          <a:endParaRPr lang="en-US" sz="2800" kern="1200" dirty="0"/>
        </a:p>
      </dsp:txBody>
      <dsp:txXfrm>
        <a:off x="59399" y="661892"/>
        <a:ext cx="2657555" cy="109800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1</a:t>
          </a:r>
        </a:p>
      </dsp:txBody>
      <dsp:txXfrm>
        <a:off x="436926" y="196974"/>
        <a:ext cx="949190" cy="94919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pages 12-13</a:t>
          </a:r>
        </a:p>
      </dsp:txBody>
      <dsp:txXfrm>
        <a:off x="436926" y="196974"/>
        <a:ext cx="949190" cy="94919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3A6C1C-2CE3-394B-834A-DE43A1487D1A}">
      <dsp:nvSpPr>
        <dsp:cNvPr id="0" name=""/>
        <dsp:cNvSpPr/>
      </dsp:nvSpPr>
      <dsp:spPr>
        <a:xfrm>
          <a:off x="0" y="1488"/>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95FE38F-5976-7548-812D-F9AEEC8EA7CF}">
      <dsp:nvSpPr>
        <dsp:cNvPr id="0" name=""/>
        <dsp:cNvSpPr/>
      </dsp:nvSpPr>
      <dsp:spPr>
        <a:xfrm>
          <a:off x="0" y="1488"/>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CA" sz="1800" kern="1200" dirty="0"/>
            <a:t>getting started</a:t>
          </a:r>
        </a:p>
      </dsp:txBody>
      <dsp:txXfrm>
        <a:off x="0" y="1488"/>
        <a:ext cx="868680" cy="1014996"/>
      </dsp:txXfrm>
    </dsp:sp>
    <dsp:sp modelId="{639C6C1B-089A-2649-AB39-4C131701D28A}">
      <dsp:nvSpPr>
        <dsp:cNvPr id="0" name=""/>
        <dsp:cNvSpPr/>
      </dsp:nvSpPr>
      <dsp:spPr>
        <a:xfrm>
          <a:off x="933831" y="47579"/>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new / carry-forward </a:t>
          </a:r>
        </a:p>
      </dsp:txBody>
      <dsp:txXfrm>
        <a:off x="933831" y="47579"/>
        <a:ext cx="3409569" cy="921822"/>
      </dsp:txXfrm>
    </dsp:sp>
    <dsp:sp modelId="{21051082-6C1C-EF41-9F06-FFE2C4C72123}">
      <dsp:nvSpPr>
        <dsp:cNvPr id="0" name=""/>
        <dsp:cNvSpPr/>
      </dsp:nvSpPr>
      <dsp:spPr>
        <a:xfrm>
          <a:off x="868680" y="969402"/>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455B76A0-4BFD-E548-8133-A0551127E5D9}">
      <dsp:nvSpPr>
        <dsp:cNvPr id="0" name=""/>
        <dsp:cNvSpPr/>
      </dsp:nvSpPr>
      <dsp:spPr>
        <a:xfrm>
          <a:off x="0" y="1016484"/>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AA932E2-EB87-3449-BA5E-08D27C68527B}">
      <dsp:nvSpPr>
        <dsp:cNvPr id="0" name=""/>
        <dsp:cNvSpPr/>
      </dsp:nvSpPr>
      <dsp:spPr>
        <a:xfrm>
          <a:off x="0" y="1016484"/>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CA" sz="1800" kern="1200" dirty="0"/>
            <a:t>info page</a:t>
          </a:r>
        </a:p>
      </dsp:txBody>
      <dsp:txXfrm>
        <a:off x="0" y="1016484"/>
        <a:ext cx="868680" cy="1014996"/>
      </dsp:txXfrm>
    </dsp:sp>
    <dsp:sp modelId="{DF528D86-1CF0-2648-A8FF-A4D55CF0F304}">
      <dsp:nvSpPr>
        <dsp:cNvPr id="0" name=""/>
        <dsp:cNvSpPr/>
      </dsp:nvSpPr>
      <dsp:spPr>
        <a:xfrm>
          <a:off x="933831" y="1062575"/>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contact &amp; other personal info</a:t>
          </a:r>
        </a:p>
      </dsp:txBody>
      <dsp:txXfrm>
        <a:off x="933831" y="1062575"/>
        <a:ext cx="3409569" cy="921822"/>
      </dsp:txXfrm>
    </dsp:sp>
    <dsp:sp modelId="{69BC30E3-B898-BB45-90AD-A2BB6F9930AB}">
      <dsp:nvSpPr>
        <dsp:cNvPr id="0" name=""/>
        <dsp:cNvSpPr/>
      </dsp:nvSpPr>
      <dsp:spPr>
        <a:xfrm>
          <a:off x="868680" y="1984398"/>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A40C0584-9CF2-8246-BDAA-A024F6CB273B}">
      <dsp:nvSpPr>
        <dsp:cNvPr id="0" name=""/>
        <dsp:cNvSpPr/>
      </dsp:nvSpPr>
      <dsp:spPr>
        <a:xfrm>
          <a:off x="0" y="2031480"/>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4842BF-3DCE-9C4F-B2FA-B1ABD9257499}">
      <dsp:nvSpPr>
        <dsp:cNvPr id="0" name=""/>
        <dsp:cNvSpPr/>
      </dsp:nvSpPr>
      <dsp:spPr>
        <a:xfrm>
          <a:off x="0" y="2031480"/>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CA" sz="1800" kern="1200" dirty="0"/>
            <a:t>data entry</a:t>
          </a:r>
        </a:p>
      </dsp:txBody>
      <dsp:txXfrm>
        <a:off x="0" y="2031480"/>
        <a:ext cx="868680" cy="1014996"/>
      </dsp:txXfrm>
    </dsp:sp>
    <dsp:sp modelId="{D4EBAB2D-C455-B745-9DC6-7C35D6A3C323}">
      <dsp:nvSpPr>
        <dsp:cNvPr id="0" name=""/>
        <dsp:cNvSpPr/>
      </dsp:nvSpPr>
      <dsp:spPr>
        <a:xfrm>
          <a:off x="933831" y="2077571"/>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quick icons</a:t>
          </a:r>
        </a:p>
      </dsp:txBody>
      <dsp:txXfrm>
        <a:off x="933831" y="2077571"/>
        <a:ext cx="3409569" cy="921822"/>
      </dsp:txXfrm>
    </dsp:sp>
    <dsp:sp modelId="{53E7ED3B-28BF-B245-983D-051270F9A842}">
      <dsp:nvSpPr>
        <dsp:cNvPr id="0" name=""/>
        <dsp:cNvSpPr/>
      </dsp:nvSpPr>
      <dsp:spPr>
        <a:xfrm>
          <a:off x="868680" y="2999394"/>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3</a:t>
          </a:r>
        </a:p>
      </dsp:txBody>
      <dsp:txXfrm>
        <a:off x="436926" y="196974"/>
        <a:ext cx="949190" cy="9491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FF1542-2E7B-5C42-88C4-0C80E422E68F}">
      <dsp:nvSpPr>
        <dsp:cNvPr id="0" name=""/>
        <dsp:cNvSpPr/>
      </dsp:nvSpPr>
      <dsp:spPr>
        <a:xfrm>
          <a:off x="0" y="1488"/>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E624EF0-AE4A-3A45-A7AE-EB1809380F85}">
      <dsp:nvSpPr>
        <dsp:cNvPr id="0" name=""/>
        <dsp:cNvSpPr/>
      </dsp:nvSpPr>
      <dsp:spPr>
        <a:xfrm>
          <a:off x="0" y="1488"/>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rtl="0">
            <a:lnSpc>
              <a:spcPct val="90000"/>
            </a:lnSpc>
            <a:spcBef>
              <a:spcPct val="0"/>
            </a:spcBef>
            <a:spcAft>
              <a:spcPct val="35000"/>
            </a:spcAft>
            <a:buNone/>
          </a:pPr>
          <a:r>
            <a:rPr lang="en-CA" sz="1300" kern="1200" dirty="0"/>
            <a:t>colours</a:t>
          </a:r>
        </a:p>
      </dsp:txBody>
      <dsp:txXfrm>
        <a:off x="0" y="1488"/>
        <a:ext cx="868680" cy="1014996"/>
      </dsp:txXfrm>
    </dsp:sp>
    <dsp:sp modelId="{41564782-82D5-4D48-B87E-5CCB77AF9194}">
      <dsp:nvSpPr>
        <dsp:cNvPr id="0" name=""/>
        <dsp:cNvSpPr/>
      </dsp:nvSpPr>
      <dsp:spPr>
        <a:xfrm>
          <a:off x="933831" y="47579"/>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font colours</a:t>
          </a:r>
        </a:p>
      </dsp:txBody>
      <dsp:txXfrm>
        <a:off x="933831" y="47579"/>
        <a:ext cx="3409569" cy="921822"/>
      </dsp:txXfrm>
    </dsp:sp>
    <dsp:sp modelId="{7A24AA8E-5E3B-434E-B406-4C99DF830420}">
      <dsp:nvSpPr>
        <dsp:cNvPr id="0" name=""/>
        <dsp:cNvSpPr/>
      </dsp:nvSpPr>
      <dsp:spPr>
        <a:xfrm>
          <a:off x="868680" y="969402"/>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C3E226D6-AB0E-0A47-8476-E077048575CE}">
      <dsp:nvSpPr>
        <dsp:cNvPr id="0" name=""/>
        <dsp:cNvSpPr/>
      </dsp:nvSpPr>
      <dsp:spPr>
        <a:xfrm>
          <a:off x="0" y="1016484"/>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BDFA852-3E71-F347-89E5-6A2D961549A4}">
      <dsp:nvSpPr>
        <dsp:cNvPr id="0" name=""/>
        <dsp:cNvSpPr/>
      </dsp:nvSpPr>
      <dsp:spPr>
        <a:xfrm>
          <a:off x="0" y="1016484"/>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rtl="0">
            <a:lnSpc>
              <a:spcPct val="90000"/>
            </a:lnSpc>
            <a:spcBef>
              <a:spcPct val="0"/>
            </a:spcBef>
            <a:spcAft>
              <a:spcPct val="35000"/>
            </a:spcAft>
            <a:buNone/>
          </a:pPr>
          <a:r>
            <a:rPr lang="en-CA" sz="1300" kern="1200" dirty="0"/>
            <a:t>arrows &amp; diamonds</a:t>
          </a:r>
        </a:p>
      </dsp:txBody>
      <dsp:txXfrm>
        <a:off x="0" y="1016484"/>
        <a:ext cx="868680" cy="1014996"/>
      </dsp:txXfrm>
    </dsp:sp>
    <dsp:sp modelId="{7660238F-A1FA-A74A-9AD2-6E7D3680B7B8}">
      <dsp:nvSpPr>
        <dsp:cNvPr id="0" name=""/>
        <dsp:cNvSpPr/>
      </dsp:nvSpPr>
      <dsp:spPr>
        <a:xfrm>
          <a:off x="933831" y="1062575"/>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contact &amp; other personal info</a:t>
          </a:r>
        </a:p>
      </dsp:txBody>
      <dsp:txXfrm>
        <a:off x="933831" y="1062575"/>
        <a:ext cx="3409569" cy="921822"/>
      </dsp:txXfrm>
    </dsp:sp>
    <dsp:sp modelId="{3DDFD38F-9993-8A48-A859-64C21860D155}">
      <dsp:nvSpPr>
        <dsp:cNvPr id="0" name=""/>
        <dsp:cNvSpPr/>
      </dsp:nvSpPr>
      <dsp:spPr>
        <a:xfrm>
          <a:off x="868680" y="1984398"/>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6E00451-BF4D-4B4F-BC58-8078F9C13615}">
      <dsp:nvSpPr>
        <dsp:cNvPr id="0" name=""/>
        <dsp:cNvSpPr/>
      </dsp:nvSpPr>
      <dsp:spPr>
        <a:xfrm>
          <a:off x="0" y="2031480"/>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52AAB79-7753-D24B-AD55-292C52119335}">
      <dsp:nvSpPr>
        <dsp:cNvPr id="0" name=""/>
        <dsp:cNvSpPr/>
      </dsp:nvSpPr>
      <dsp:spPr>
        <a:xfrm>
          <a:off x="0" y="2031480"/>
          <a:ext cx="868680" cy="10149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rtl="0">
            <a:lnSpc>
              <a:spcPct val="90000"/>
            </a:lnSpc>
            <a:spcBef>
              <a:spcPct val="0"/>
            </a:spcBef>
            <a:spcAft>
              <a:spcPct val="35000"/>
            </a:spcAft>
            <a:buNone/>
          </a:pPr>
          <a:r>
            <a:rPr lang="en-CA" sz="1300" kern="1200" dirty="0"/>
            <a:t>overrides</a:t>
          </a:r>
        </a:p>
      </dsp:txBody>
      <dsp:txXfrm>
        <a:off x="0" y="2031480"/>
        <a:ext cx="868680" cy="1014996"/>
      </dsp:txXfrm>
    </dsp:sp>
    <dsp:sp modelId="{6ADA6E5A-EFE3-EE4A-8B9F-C1FC789CEC7D}">
      <dsp:nvSpPr>
        <dsp:cNvPr id="0" name=""/>
        <dsp:cNvSpPr/>
      </dsp:nvSpPr>
      <dsp:spPr>
        <a:xfrm>
          <a:off x="933831" y="2077571"/>
          <a:ext cx="3409569" cy="92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manual entry</a:t>
          </a:r>
        </a:p>
      </dsp:txBody>
      <dsp:txXfrm>
        <a:off x="933831" y="2077571"/>
        <a:ext cx="3409569" cy="921822"/>
      </dsp:txXfrm>
    </dsp:sp>
    <dsp:sp modelId="{FADA7291-A276-1A4A-9FA5-7BC30C6913BE}">
      <dsp:nvSpPr>
        <dsp:cNvPr id="0" name=""/>
        <dsp:cNvSpPr/>
      </dsp:nvSpPr>
      <dsp:spPr>
        <a:xfrm>
          <a:off x="868680" y="2999394"/>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Page</a:t>
          </a:r>
        </a:p>
        <a:p>
          <a:pPr marL="0" lvl="0" indent="0" algn="ctr" defTabSz="1200150">
            <a:lnSpc>
              <a:spcPct val="90000"/>
            </a:lnSpc>
            <a:spcBef>
              <a:spcPct val="0"/>
            </a:spcBef>
            <a:spcAft>
              <a:spcPct val="35000"/>
            </a:spcAft>
            <a:buNone/>
          </a:pPr>
          <a:r>
            <a:rPr lang="en-US" sz="2700" kern="1200" dirty="0"/>
            <a:t>15</a:t>
          </a:r>
        </a:p>
      </dsp:txBody>
      <dsp:txXfrm>
        <a:off x="436926" y="196974"/>
        <a:ext cx="949190" cy="94919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835B30-1006-E140-A78F-164CFCFD06BA}">
      <dsp:nvSpPr>
        <dsp:cNvPr id="0" name=""/>
        <dsp:cNvSpPr/>
      </dsp:nvSpPr>
      <dsp:spPr>
        <a:xfrm>
          <a:off x="0" y="0"/>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BE20673-6063-284D-A886-8ECC88A79E2A}">
      <dsp:nvSpPr>
        <dsp:cNvPr id="0" name=""/>
        <dsp:cNvSpPr/>
      </dsp:nvSpPr>
      <dsp:spPr>
        <a:xfrm>
          <a:off x="0" y="0"/>
          <a:ext cx="868680" cy="1523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CA" sz="1700" kern="1200" dirty="0"/>
            <a:t>memos</a:t>
          </a:r>
        </a:p>
      </dsp:txBody>
      <dsp:txXfrm>
        <a:off x="0" y="0"/>
        <a:ext cx="868680" cy="1523982"/>
      </dsp:txXfrm>
    </dsp:sp>
    <dsp:sp modelId="{E7D8F678-D3A1-D64B-9BAA-CA61016AE875}">
      <dsp:nvSpPr>
        <dsp:cNvPr id="0" name=""/>
        <dsp:cNvSpPr/>
      </dsp:nvSpPr>
      <dsp:spPr>
        <a:xfrm>
          <a:off x="933831" y="69204"/>
          <a:ext cx="3409569" cy="13840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entering notes</a:t>
          </a:r>
        </a:p>
      </dsp:txBody>
      <dsp:txXfrm>
        <a:off x="933831" y="69204"/>
        <a:ext cx="3409569" cy="1384085"/>
      </dsp:txXfrm>
    </dsp:sp>
    <dsp:sp modelId="{C3708BAE-CDAE-5246-A6E3-3FA47D468631}">
      <dsp:nvSpPr>
        <dsp:cNvPr id="0" name=""/>
        <dsp:cNvSpPr/>
      </dsp:nvSpPr>
      <dsp:spPr>
        <a:xfrm>
          <a:off x="868680" y="1453289"/>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4AD47A6F-A920-0046-8C7E-FCA19B5A6D75}">
      <dsp:nvSpPr>
        <dsp:cNvPr id="0" name=""/>
        <dsp:cNvSpPr/>
      </dsp:nvSpPr>
      <dsp:spPr>
        <a:xfrm>
          <a:off x="0" y="1523982"/>
          <a:ext cx="4343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927D857-4FE4-2249-9009-E4AE7BD8AA07}">
      <dsp:nvSpPr>
        <dsp:cNvPr id="0" name=""/>
        <dsp:cNvSpPr/>
      </dsp:nvSpPr>
      <dsp:spPr>
        <a:xfrm>
          <a:off x="0" y="1523982"/>
          <a:ext cx="868680" cy="1523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CA" sz="1700" kern="1200" dirty="0"/>
            <a:t>tapes</a:t>
          </a:r>
        </a:p>
      </dsp:txBody>
      <dsp:txXfrm>
        <a:off x="0" y="1523982"/>
        <a:ext cx="868680" cy="1523982"/>
      </dsp:txXfrm>
    </dsp:sp>
    <dsp:sp modelId="{A7F98071-923F-7D4C-91F7-BA2AEB10B0B3}">
      <dsp:nvSpPr>
        <dsp:cNvPr id="0" name=""/>
        <dsp:cNvSpPr/>
      </dsp:nvSpPr>
      <dsp:spPr>
        <a:xfrm>
          <a:off x="933831" y="1593186"/>
          <a:ext cx="3409569" cy="13840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making calculations</a:t>
          </a:r>
        </a:p>
      </dsp:txBody>
      <dsp:txXfrm>
        <a:off x="933831" y="1593186"/>
        <a:ext cx="3409569" cy="1384085"/>
      </dsp:txXfrm>
    </dsp:sp>
    <dsp:sp modelId="{D2D77D46-A0C2-B54C-85C0-442A3F683FD7}">
      <dsp:nvSpPr>
        <dsp:cNvPr id="0" name=""/>
        <dsp:cNvSpPr/>
      </dsp:nvSpPr>
      <dsp:spPr>
        <a:xfrm>
          <a:off x="868680" y="2977272"/>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7</a:t>
          </a:r>
        </a:p>
      </dsp:txBody>
      <dsp:txXfrm>
        <a:off x="436926" y="196974"/>
        <a:ext cx="949190" cy="9491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D28E29-061B-E94E-BEF6-6A2C91CE9F28}">
      <dsp:nvSpPr>
        <dsp:cNvPr id="0" name=""/>
        <dsp:cNvSpPr/>
      </dsp:nvSpPr>
      <dsp:spPr>
        <a:xfrm>
          <a:off x="0" y="2000"/>
          <a:ext cx="434340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EE9D810-E335-0D45-9353-23CDBEAA1606}">
      <dsp:nvSpPr>
        <dsp:cNvPr id="0" name=""/>
        <dsp:cNvSpPr/>
      </dsp:nvSpPr>
      <dsp:spPr>
        <a:xfrm>
          <a:off x="0" y="2000"/>
          <a:ext cx="868680" cy="1364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tabs</a:t>
          </a:r>
          <a:endParaRPr lang="en-CA" sz="1400" kern="1200" dirty="0"/>
        </a:p>
      </dsp:txBody>
      <dsp:txXfrm>
        <a:off x="0" y="2000"/>
        <a:ext cx="868680" cy="1364176"/>
      </dsp:txXfrm>
    </dsp:sp>
    <dsp:sp modelId="{21D13B0D-5C15-7C42-85B3-A56421F37580}">
      <dsp:nvSpPr>
        <dsp:cNvPr id="0" name=""/>
        <dsp:cNvSpPr/>
      </dsp:nvSpPr>
      <dsp:spPr>
        <a:xfrm>
          <a:off x="933831" y="63947"/>
          <a:ext cx="3409569" cy="1238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jump to </a:t>
          </a:r>
          <a:r>
            <a:rPr lang="en-CA" sz="2400" kern="1200" baseline="0" dirty="0"/>
            <a:t>forms</a:t>
          </a:r>
          <a:endParaRPr lang="en-CA" sz="2400" kern="1200" dirty="0"/>
        </a:p>
      </dsp:txBody>
      <dsp:txXfrm>
        <a:off x="933831" y="63947"/>
        <a:ext cx="3409569" cy="1238949"/>
      </dsp:txXfrm>
    </dsp:sp>
    <dsp:sp modelId="{CFADBA98-CAB5-EE42-98BA-734B9A2E6858}">
      <dsp:nvSpPr>
        <dsp:cNvPr id="0" name=""/>
        <dsp:cNvSpPr/>
      </dsp:nvSpPr>
      <dsp:spPr>
        <a:xfrm>
          <a:off x="868680" y="1302897"/>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FB76D73E-7843-0547-AB26-DB385CD70AE5}">
      <dsp:nvSpPr>
        <dsp:cNvPr id="0" name=""/>
        <dsp:cNvSpPr/>
      </dsp:nvSpPr>
      <dsp:spPr>
        <a:xfrm>
          <a:off x="0" y="1366177"/>
          <a:ext cx="434340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8481F58-CFA6-F949-9FF4-6F05BE2C7979}">
      <dsp:nvSpPr>
        <dsp:cNvPr id="0" name=""/>
        <dsp:cNvSpPr/>
      </dsp:nvSpPr>
      <dsp:spPr>
        <a:xfrm>
          <a:off x="0" y="1366177"/>
          <a:ext cx="868680" cy="1364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CA" sz="1800" kern="1200" dirty="0"/>
            <a:t>menu bar</a:t>
          </a:r>
        </a:p>
      </dsp:txBody>
      <dsp:txXfrm>
        <a:off x="0" y="1366177"/>
        <a:ext cx="868680" cy="1364176"/>
      </dsp:txXfrm>
    </dsp:sp>
    <dsp:sp modelId="{1D95F3B1-18C4-744B-9D5B-B4AEB4CB7E78}">
      <dsp:nvSpPr>
        <dsp:cNvPr id="0" name=""/>
        <dsp:cNvSpPr/>
      </dsp:nvSpPr>
      <dsp:spPr>
        <a:xfrm>
          <a:off x="933831" y="1428124"/>
          <a:ext cx="3409569" cy="1238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manual navigation</a:t>
          </a:r>
        </a:p>
      </dsp:txBody>
      <dsp:txXfrm>
        <a:off x="933831" y="1428124"/>
        <a:ext cx="3409569" cy="1238949"/>
      </dsp:txXfrm>
    </dsp:sp>
    <dsp:sp modelId="{C9DE5BE9-00BC-7B41-BF01-71C4ADABF9B9}">
      <dsp:nvSpPr>
        <dsp:cNvPr id="0" name=""/>
        <dsp:cNvSpPr/>
      </dsp:nvSpPr>
      <dsp:spPr>
        <a:xfrm>
          <a:off x="868680" y="2667074"/>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AB79A44A-8B97-664B-928E-FAB4E02025BD}">
      <dsp:nvSpPr>
        <dsp:cNvPr id="0" name=""/>
        <dsp:cNvSpPr/>
      </dsp:nvSpPr>
      <dsp:spPr>
        <a:xfrm>
          <a:off x="0" y="2730353"/>
          <a:ext cx="434340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F9D35E7-33C9-D448-BFC7-5795D5307244}">
      <dsp:nvSpPr>
        <dsp:cNvPr id="0" name=""/>
        <dsp:cNvSpPr/>
      </dsp:nvSpPr>
      <dsp:spPr>
        <a:xfrm>
          <a:off x="0" y="2730353"/>
          <a:ext cx="868680" cy="13641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rtl="0">
            <a:lnSpc>
              <a:spcPct val="90000"/>
            </a:lnSpc>
            <a:spcBef>
              <a:spcPct val="0"/>
            </a:spcBef>
            <a:spcAft>
              <a:spcPct val="35000"/>
            </a:spcAft>
            <a:buNone/>
          </a:pPr>
          <a:r>
            <a:rPr lang="en-CA" sz="1400" kern="1200" dirty="0"/>
            <a:t>toolbars</a:t>
          </a:r>
        </a:p>
      </dsp:txBody>
      <dsp:txXfrm>
        <a:off x="0" y="2730353"/>
        <a:ext cx="868680" cy="1364176"/>
      </dsp:txXfrm>
    </dsp:sp>
    <dsp:sp modelId="{DB88A68E-D461-984A-B5F6-9A1FCBC63369}">
      <dsp:nvSpPr>
        <dsp:cNvPr id="0" name=""/>
        <dsp:cNvSpPr/>
      </dsp:nvSpPr>
      <dsp:spPr>
        <a:xfrm>
          <a:off x="933831" y="2792301"/>
          <a:ext cx="3409569" cy="1238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quick icons</a:t>
          </a:r>
        </a:p>
      </dsp:txBody>
      <dsp:txXfrm>
        <a:off x="933831" y="2792301"/>
        <a:ext cx="3409569" cy="1238949"/>
      </dsp:txXfrm>
    </dsp:sp>
    <dsp:sp modelId="{B95024A5-56A9-1B4C-A70F-A64DEF7556DA}">
      <dsp:nvSpPr>
        <dsp:cNvPr id="0" name=""/>
        <dsp:cNvSpPr/>
      </dsp:nvSpPr>
      <dsp:spPr>
        <a:xfrm>
          <a:off x="868680" y="4031251"/>
          <a:ext cx="347472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3A8925-E080-9A49-A194-D3EB9365FB66}">
      <dsp:nvSpPr>
        <dsp:cNvPr id="0" name=""/>
        <dsp:cNvSpPr/>
      </dsp:nvSpPr>
      <dsp:spPr>
        <a:xfrm>
          <a:off x="0" y="1616"/>
          <a:ext cx="2819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96D176F-E4D9-174F-AE54-517342ACEC35}">
      <dsp:nvSpPr>
        <dsp:cNvPr id="0" name=""/>
        <dsp:cNvSpPr/>
      </dsp:nvSpPr>
      <dsp:spPr>
        <a:xfrm>
          <a:off x="0" y="1616"/>
          <a:ext cx="2819400" cy="11027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CA" sz="2800" kern="1200" dirty="0"/>
            <a:t>find what you need</a:t>
          </a:r>
          <a:endParaRPr lang="en-US" sz="2800" kern="1200" dirty="0"/>
        </a:p>
      </dsp:txBody>
      <dsp:txXfrm>
        <a:off x="0" y="1616"/>
        <a:ext cx="2819400" cy="1102770"/>
      </dsp:txXfrm>
    </dsp:sp>
    <dsp:sp modelId="{2E3E28F4-DE3E-E343-BDB6-291CAF2E206E}">
      <dsp:nvSpPr>
        <dsp:cNvPr id="0" name=""/>
        <dsp:cNvSpPr/>
      </dsp:nvSpPr>
      <dsp:spPr>
        <a:xfrm>
          <a:off x="0" y="1104386"/>
          <a:ext cx="2819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CC5A41E6-91BD-464D-A5DD-D97E24355F12}">
      <dsp:nvSpPr>
        <dsp:cNvPr id="0" name=""/>
        <dsp:cNvSpPr/>
      </dsp:nvSpPr>
      <dsp:spPr>
        <a:xfrm>
          <a:off x="0" y="1104386"/>
          <a:ext cx="2819400" cy="11027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form explorer icons</a:t>
          </a:r>
        </a:p>
      </dsp:txBody>
      <dsp:txXfrm>
        <a:off x="0" y="1104386"/>
        <a:ext cx="2819400" cy="1102770"/>
      </dsp:txXfrm>
    </dsp:sp>
    <dsp:sp modelId="{6882A559-EEAA-4E4A-85C0-B94DE6CBBBDD}">
      <dsp:nvSpPr>
        <dsp:cNvPr id="0" name=""/>
        <dsp:cNvSpPr/>
      </dsp:nvSpPr>
      <dsp:spPr>
        <a:xfrm>
          <a:off x="0" y="2207157"/>
          <a:ext cx="2819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1B9822C-FA99-FE4F-9465-012498E3666E}">
      <dsp:nvSpPr>
        <dsp:cNvPr id="0" name=""/>
        <dsp:cNvSpPr/>
      </dsp:nvSpPr>
      <dsp:spPr>
        <a:xfrm>
          <a:off x="0" y="2207157"/>
          <a:ext cx="2819400" cy="11027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CA" sz="2800" kern="1200" dirty="0"/>
            <a:t>right-click</a:t>
          </a:r>
        </a:p>
      </dsp:txBody>
      <dsp:txXfrm>
        <a:off x="0" y="2207157"/>
        <a:ext cx="2819400" cy="1102770"/>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8B52A0-2BF9-3546-8000-39085D1CC5B2}">
      <dsp:nvSpPr>
        <dsp:cNvPr id="0" name=""/>
        <dsp:cNvSpPr/>
      </dsp:nvSpPr>
      <dsp:spPr>
        <a:xfrm>
          <a:off x="0" y="0"/>
          <a:ext cx="11674406"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34B2B40-730E-BD40-9407-D1FB5AC36952}">
      <dsp:nvSpPr>
        <dsp:cNvPr id="0" name=""/>
        <dsp:cNvSpPr/>
      </dsp:nvSpPr>
      <dsp:spPr>
        <a:xfrm>
          <a:off x="0" y="0"/>
          <a:ext cx="2334881" cy="11201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a:lnSpc>
              <a:spcPct val="90000"/>
            </a:lnSpc>
            <a:spcBef>
              <a:spcPct val="0"/>
            </a:spcBef>
            <a:spcAft>
              <a:spcPct val="35000"/>
            </a:spcAft>
            <a:buNone/>
          </a:pPr>
          <a:r>
            <a:rPr lang="en-CA" sz="3300" kern="1200" dirty="0"/>
            <a:t>data monitor</a:t>
          </a:r>
          <a:endParaRPr lang="en-US" sz="3300" kern="1200" dirty="0"/>
        </a:p>
      </dsp:txBody>
      <dsp:txXfrm>
        <a:off x="0" y="0"/>
        <a:ext cx="2334881" cy="1120132"/>
      </dsp:txXfrm>
    </dsp:sp>
    <dsp:sp modelId="{76C515FA-48E0-E748-A67A-CEBAE2686D2A}">
      <dsp:nvSpPr>
        <dsp:cNvPr id="0" name=""/>
        <dsp:cNvSpPr/>
      </dsp:nvSpPr>
      <dsp:spPr>
        <a:xfrm>
          <a:off x="2509997" y="50865"/>
          <a:ext cx="9164408" cy="10173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endParaRPr lang="en-US" sz="2400" kern="1200" dirty="0"/>
        </a:p>
      </dsp:txBody>
      <dsp:txXfrm>
        <a:off x="2509997" y="50865"/>
        <a:ext cx="9164408" cy="1017307"/>
      </dsp:txXfrm>
    </dsp:sp>
    <dsp:sp modelId="{4B8D632A-42EE-DE41-83E5-0ED5FBCF2F36}">
      <dsp:nvSpPr>
        <dsp:cNvPr id="0" name=""/>
        <dsp:cNvSpPr/>
      </dsp:nvSpPr>
      <dsp:spPr>
        <a:xfrm>
          <a:off x="2334881" y="1068172"/>
          <a:ext cx="9339524"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3A8925-E080-9A49-A194-D3EB9365FB66}">
      <dsp:nvSpPr>
        <dsp:cNvPr id="0" name=""/>
        <dsp:cNvSpPr/>
      </dsp:nvSpPr>
      <dsp:spPr>
        <a:xfrm>
          <a:off x="0" y="0"/>
          <a:ext cx="2819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96D176F-E4D9-174F-AE54-517342ACEC35}">
      <dsp:nvSpPr>
        <dsp:cNvPr id="0" name=""/>
        <dsp:cNvSpPr/>
      </dsp:nvSpPr>
      <dsp:spPr>
        <a:xfrm>
          <a:off x="0" y="0"/>
          <a:ext cx="2819400" cy="3311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CA" sz="2800" kern="1200" dirty="0"/>
            <a:t>Power of a right-click</a:t>
          </a:r>
          <a:endParaRPr lang="en-US" sz="2800" kern="1200" dirty="0"/>
        </a:p>
      </dsp:txBody>
      <dsp:txXfrm>
        <a:off x="0" y="0"/>
        <a:ext cx="2819400" cy="33115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7</a:t>
          </a:r>
        </a:p>
      </dsp:txBody>
      <dsp:txXfrm>
        <a:off x="436926" y="196974"/>
        <a:ext cx="949190" cy="9491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E2BC39-5C94-2B4B-BBF5-8C89F96487A0}">
      <dsp:nvSpPr>
        <dsp:cNvPr id="0" name=""/>
        <dsp:cNvSpPr/>
      </dsp:nvSpPr>
      <dsp:spPr>
        <a:xfrm>
          <a:off x="0" y="2077"/>
          <a:ext cx="4267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4D1DAEC-0420-DE42-8AEF-CD19A402E296}">
      <dsp:nvSpPr>
        <dsp:cNvPr id="0" name=""/>
        <dsp:cNvSpPr/>
      </dsp:nvSpPr>
      <dsp:spPr>
        <a:xfrm>
          <a:off x="0" y="2077"/>
          <a:ext cx="853440" cy="1416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CA" sz="1700" kern="1200" dirty="0"/>
            <a:t>tile</a:t>
          </a:r>
        </a:p>
      </dsp:txBody>
      <dsp:txXfrm>
        <a:off x="0" y="2077"/>
        <a:ext cx="853440" cy="1416683"/>
      </dsp:txXfrm>
    </dsp:sp>
    <dsp:sp modelId="{ADA81D2F-7E4C-2B4F-88B0-6E4B9B3C8CE8}">
      <dsp:nvSpPr>
        <dsp:cNvPr id="0" name=""/>
        <dsp:cNvSpPr/>
      </dsp:nvSpPr>
      <dsp:spPr>
        <a:xfrm>
          <a:off x="917448" y="66409"/>
          <a:ext cx="3349752" cy="1286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display multiple files</a:t>
          </a:r>
        </a:p>
      </dsp:txBody>
      <dsp:txXfrm>
        <a:off x="917448" y="66409"/>
        <a:ext cx="3349752" cy="1286636"/>
      </dsp:txXfrm>
    </dsp:sp>
    <dsp:sp modelId="{F9CE2717-3C4C-9D4A-8831-2D26FBD5F034}">
      <dsp:nvSpPr>
        <dsp:cNvPr id="0" name=""/>
        <dsp:cNvSpPr/>
      </dsp:nvSpPr>
      <dsp:spPr>
        <a:xfrm>
          <a:off x="853440" y="1353045"/>
          <a:ext cx="341376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FD8096A1-10D7-3441-9943-93A898F7F722}">
      <dsp:nvSpPr>
        <dsp:cNvPr id="0" name=""/>
        <dsp:cNvSpPr/>
      </dsp:nvSpPr>
      <dsp:spPr>
        <a:xfrm>
          <a:off x="0" y="1418760"/>
          <a:ext cx="4267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F6287CB-5BF3-304A-A649-7483C87ABE2F}">
      <dsp:nvSpPr>
        <dsp:cNvPr id="0" name=""/>
        <dsp:cNvSpPr/>
      </dsp:nvSpPr>
      <dsp:spPr>
        <a:xfrm>
          <a:off x="0" y="1418760"/>
          <a:ext cx="853440" cy="1416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CA" sz="1700" kern="1200" dirty="0"/>
            <a:t>launch</a:t>
          </a:r>
        </a:p>
      </dsp:txBody>
      <dsp:txXfrm>
        <a:off x="0" y="1418760"/>
        <a:ext cx="853440" cy="1416683"/>
      </dsp:txXfrm>
    </dsp:sp>
    <dsp:sp modelId="{CE6424F2-105F-794D-9553-7B364BD28EDF}">
      <dsp:nvSpPr>
        <dsp:cNvPr id="0" name=""/>
        <dsp:cNvSpPr/>
      </dsp:nvSpPr>
      <dsp:spPr>
        <a:xfrm>
          <a:off x="917448" y="1483092"/>
          <a:ext cx="3349752" cy="1286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multiple monitors</a:t>
          </a:r>
        </a:p>
      </dsp:txBody>
      <dsp:txXfrm>
        <a:off x="917448" y="1483092"/>
        <a:ext cx="3349752" cy="1286636"/>
      </dsp:txXfrm>
    </dsp:sp>
    <dsp:sp modelId="{8DB6BEAF-2F12-F248-A793-AF862582B643}">
      <dsp:nvSpPr>
        <dsp:cNvPr id="0" name=""/>
        <dsp:cNvSpPr/>
      </dsp:nvSpPr>
      <dsp:spPr>
        <a:xfrm>
          <a:off x="853440" y="2769728"/>
          <a:ext cx="341376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3FE6A6DF-0239-D148-A2EC-C5A045C611C3}">
      <dsp:nvSpPr>
        <dsp:cNvPr id="0" name=""/>
        <dsp:cNvSpPr/>
      </dsp:nvSpPr>
      <dsp:spPr>
        <a:xfrm>
          <a:off x="0" y="2835443"/>
          <a:ext cx="4267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E7E3535-908E-F54B-BFE0-06173A58352A}">
      <dsp:nvSpPr>
        <dsp:cNvPr id="0" name=""/>
        <dsp:cNvSpPr/>
      </dsp:nvSpPr>
      <dsp:spPr>
        <a:xfrm>
          <a:off x="0" y="2835443"/>
          <a:ext cx="853440" cy="14166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rtl="0">
            <a:lnSpc>
              <a:spcPct val="90000"/>
            </a:lnSpc>
            <a:spcBef>
              <a:spcPct val="0"/>
            </a:spcBef>
            <a:spcAft>
              <a:spcPct val="35000"/>
            </a:spcAft>
            <a:buNone/>
          </a:pPr>
          <a:r>
            <a:rPr lang="en-CA" sz="1700" kern="1200" dirty="0"/>
            <a:t>window menu</a:t>
          </a:r>
        </a:p>
      </dsp:txBody>
      <dsp:txXfrm>
        <a:off x="0" y="2835443"/>
        <a:ext cx="853440" cy="1416683"/>
      </dsp:txXfrm>
    </dsp:sp>
    <dsp:sp modelId="{0243B2F1-8B4B-CD4D-A702-B931AC45B4D1}">
      <dsp:nvSpPr>
        <dsp:cNvPr id="0" name=""/>
        <dsp:cNvSpPr/>
      </dsp:nvSpPr>
      <dsp:spPr>
        <a:xfrm>
          <a:off x="917448" y="2899775"/>
          <a:ext cx="3349752" cy="12866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CA" sz="2400" kern="1200" dirty="0"/>
            <a:t>quick icons</a:t>
          </a:r>
        </a:p>
      </dsp:txBody>
      <dsp:txXfrm>
        <a:off x="917448" y="2899775"/>
        <a:ext cx="3349752" cy="1286636"/>
      </dsp:txXfrm>
    </dsp:sp>
    <dsp:sp modelId="{5F57A184-C459-FF43-9279-8330E04C4232}">
      <dsp:nvSpPr>
        <dsp:cNvPr id="0" name=""/>
        <dsp:cNvSpPr/>
      </dsp:nvSpPr>
      <dsp:spPr>
        <a:xfrm>
          <a:off x="853440" y="4186411"/>
          <a:ext cx="341376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602493"/>
          <a:ext cx="2776353"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the auditor</a:t>
          </a:r>
          <a:endParaRPr lang="en-US" sz="2800" kern="1200" dirty="0"/>
        </a:p>
      </dsp:txBody>
      <dsp:txXfrm>
        <a:off x="59399" y="661892"/>
        <a:ext cx="2657555" cy="109800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Page</a:t>
          </a:r>
        </a:p>
        <a:p>
          <a:pPr marL="0" lvl="0" indent="0" algn="ctr" defTabSz="1200150">
            <a:lnSpc>
              <a:spcPct val="90000"/>
            </a:lnSpc>
            <a:spcBef>
              <a:spcPct val="0"/>
            </a:spcBef>
            <a:spcAft>
              <a:spcPct val="35000"/>
            </a:spcAft>
            <a:buNone/>
          </a:pPr>
          <a:r>
            <a:rPr lang="en-US" sz="2700" kern="1200" dirty="0"/>
            <a:t>8</a:t>
          </a:r>
        </a:p>
      </dsp:txBody>
      <dsp:txXfrm>
        <a:off x="436926" y="196974"/>
        <a:ext cx="949190" cy="9491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602493"/>
          <a:ext cx="2776353"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passive auditor</a:t>
          </a:r>
          <a:endParaRPr lang="en-US" sz="2800" kern="1200" dirty="0"/>
        </a:p>
      </dsp:txBody>
      <dsp:txXfrm>
        <a:off x="59399" y="661892"/>
        <a:ext cx="2657555" cy="109800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8</a:t>
          </a:r>
        </a:p>
      </dsp:txBody>
      <dsp:txXfrm>
        <a:off x="436926" y="196974"/>
        <a:ext cx="949190" cy="9491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602493"/>
          <a:ext cx="3505200"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the active auditor</a:t>
          </a:r>
          <a:endParaRPr lang="en-US" sz="2800" kern="1200" dirty="0"/>
        </a:p>
      </dsp:txBody>
      <dsp:txXfrm>
        <a:off x="59399" y="661892"/>
        <a:ext cx="3386402" cy="1098002"/>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3 and discuss how, </a:t>
            </a:r>
            <a:r>
              <a:rPr lang="en-US" sz="1200" kern="1200" dirty="0">
                <a:solidFill>
                  <a:schemeClr val="tx1"/>
                </a:solidFill>
                <a:effectLst/>
                <a:latin typeface="+mn-lt"/>
                <a:ea typeface="+mn-ea"/>
                <a:cs typeface="+mn-cs"/>
              </a:rPr>
              <a:t>fields</a:t>
            </a:r>
            <a:r>
              <a:rPr lang="en-US" sz="1200" kern="1200" baseline="0" dirty="0">
                <a:solidFill>
                  <a:schemeClr val="tx1"/>
                </a:solidFill>
                <a:effectLst/>
                <a:latin typeface="+mn-lt"/>
                <a:ea typeface="+mn-ea"/>
                <a:cs typeface="+mn-cs"/>
              </a:rPr>
              <a:t> might </a:t>
            </a:r>
            <a:r>
              <a:rPr lang="en-US" sz="1200" kern="1200" dirty="0">
                <a:solidFill>
                  <a:schemeClr val="tx1"/>
                </a:solidFill>
                <a:effectLst/>
                <a:latin typeface="+mn-lt"/>
                <a:ea typeface="+mn-ea"/>
                <a:cs typeface="+mn-cs"/>
              </a:rPr>
              <a:t>have different font </a:t>
            </a:r>
            <a:r>
              <a:rPr lang="en-US" sz="1200" kern="1200" dirty="0" err="1">
                <a:solidFill>
                  <a:schemeClr val="tx1"/>
                </a:solidFill>
                <a:effectLst/>
                <a:latin typeface="+mn-lt"/>
                <a:ea typeface="+mn-ea"/>
                <a:cs typeface="+mn-cs"/>
              </a:rPr>
              <a:t>colours</a:t>
            </a:r>
            <a:r>
              <a:rPr lang="en-US" sz="1200" kern="1200" dirty="0">
                <a:solidFill>
                  <a:schemeClr val="tx1"/>
                </a:solidFill>
                <a:effectLst/>
                <a:latin typeface="+mn-lt"/>
                <a:ea typeface="+mn-ea"/>
                <a:cs typeface="+mn-cs"/>
              </a:rPr>
              <a:t>. Here’s what those </a:t>
            </a:r>
            <a:r>
              <a:rPr lang="en-US" sz="1200" kern="1200" dirty="0" err="1">
                <a:solidFill>
                  <a:schemeClr val="tx1"/>
                </a:solidFill>
                <a:effectLst/>
                <a:latin typeface="+mn-lt"/>
                <a:ea typeface="+mn-ea"/>
                <a:cs typeface="+mn-cs"/>
              </a:rPr>
              <a:t>colours</a:t>
            </a:r>
            <a:r>
              <a:rPr lang="en-US" sz="1200" kern="1200" dirty="0">
                <a:solidFill>
                  <a:schemeClr val="tx1"/>
                </a:solidFill>
                <a:effectLst/>
                <a:latin typeface="+mn-lt"/>
                <a:ea typeface="+mn-ea"/>
                <a:cs typeface="+mn-cs"/>
              </a:rPr>
              <a:t> signify: </a:t>
            </a:r>
            <a:endParaRPr lang="en-US" dirty="0"/>
          </a:p>
          <a:p>
            <a:r>
              <a:rPr lang="en-US" sz="1200" kern="1200" dirty="0">
                <a:solidFill>
                  <a:schemeClr val="tx1"/>
                </a:solidFill>
                <a:effectLst/>
                <a:latin typeface="+mn-lt"/>
                <a:ea typeface="+mn-ea"/>
                <a:cs typeface="+mn-cs"/>
              </a:rPr>
              <a:t>Fields with...</a:t>
            </a:r>
            <a:endParaRPr lang="en-US" dirty="0"/>
          </a:p>
          <a:p>
            <a:r>
              <a:rPr lang="en-US" sz="1200" kern="1200" dirty="0">
                <a:solidFill>
                  <a:schemeClr val="tx1"/>
                </a:solidFill>
                <a:effectLst/>
                <a:latin typeface="+mn-lt"/>
                <a:ea typeface="+mn-ea"/>
                <a:cs typeface="+mn-cs"/>
              </a:rPr>
              <a:t>Purple fonts denote data carried forward from a prior year </a:t>
            </a:r>
          </a:p>
          <a:p>
            <a:r>
              <a:rPr lang="en-US" sz="1200" kern="1200" dirty="0">
                <a:solidFill>
                  <a:schemeClr val="tx1"/>
                </a:solidFill>
                <a:effectLst/>
                <a:latin typeface="+mn-lt"/>
                <a:ea typeface="+mn-ea"/>
                <a:cs typeface="+mn-cs"/>
              </a:rPr>
              <a:t>Black fonts are for direct data entry </a:t>
            </a:r>
          </a:p>
          <a:p>
            <a:r>
              <a:rPr lang="en-US" sz="1200" kern="1200" dirty="0">
                <a:solidFill>
                  <a:schemeClr val="tx1"/>
                </a:solidFill>
                <a:effectLst/>
                <a:latin typeface="+mn-lt"/>
                <a:ea typeface="+mn-ea"/>
                <a:cs typeface="+mn-cs"/>
              </a:rPr>
              <a:t>Blue fonts indicate a field calculated by ProFile </a:t>
            </a:r>
          </a:p>
          <a:p>
            <a:r>
              <a:rPr lang="en-US" sz="1200" kern="1200" dirty="0">
                <a:solidFill>
                  <a:schemeClr val="tx1"/>
                </a:solidFill>
                <a:effectLst/>
                <a:latin typeface="+mn-lt"/>
                <a:ea typeface="+mn-ea"/>
                <a:cs typeface="+mn-cs"/>
              </a:rPr>
              <a:t>Red fonts mean that you overrode a calculated field </a:t>
            </a:r>
          </a:p>
          <a:p>
            <a:r>
              <a:rPr lang="en-US" sz="1200" kern="1200" dirty="0">
                <a:solidFill>
                  <a:schemeClr val="tx1"/>
                </a:solidFill>
                <a:effectLst/>
                <a:latin typeface="+mn-lt"/>
                <a:ea typeface="+mn-ea"/>
                <a:cs typeface="+mn-cs"/>
              </a:rPr>
              <a:t>Green fonts denote a row or column total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ight edge of certain fields may display an up-arrow, a down-arrow, or a diamond. Here’s what those diagrams signify: </a:t>
            </a:r>
            <a:endParaRPr lang="en-US" dirty="0">
              <a:effectLst/>
            </a:endParaRPr>
          </a:p>
          <a:p>
            <a:pPr lvl="1"/>
            <a:r>
              <a:rPr lang="en-US" sz="1200" kern="1200" dirty="0">
                <a:solidFill>
                  <a:schemeClr val="tx1"/>
                </a:solidFill>
                <a:effectLst/>
                <a:latin typeface="+mn-lt"/>
                <a:ea typeface="+mn-ea"/>
                <a:cs typeface="+mn-cs"/>
              </a:rPr>
              <a:t>If a field displays a </a:t>
            </a:r>
            <a:r>
              <a:rPr lang="en-US" sz="1200" i="1" kern="1200" dirty="0">
                <a:solidFill>
                  <a:schemeClr val="tx1"/>
                </a:solidFill>
                <a:effectLst/>
                <a:latin typeface="+mn-lt"/>
                <a:ea typeface="+mn-ea"/>
                <a:cs typeface="+mn-cs"/>
              </a:rPr>
              <a:t>down </a:t>
            </a:r>
            <a:r>
              <a:rPr lang="en-US" sz="1200" kern="1200" dirty="0">
                <a:solidFill>
                  <a:schemeClr val="tx1"/>
                </a:solidFill>
                <a:effectLst/>
                <a:latin typeface="+mn-lt"/>
                <a:ea typeface="+mn-ea"/>
                <a:cs typeface="+mn-cs"/>
              </a:rPr>
              <a:t>arrow, then a dropdown menu exists for that field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en a field displays an </a:t>
            </a:r>
            <a:r>
              <a:rPr lang="en-US" sz="1200" i="1" kern="1200" dirty="0">
                <a:solidFill>
                  <a:schemeClr val="tx1"/>
                </a:solidFill>
                <a:effectLst/>
                <a:latin typeface="+mn-lt"/>
                <a:ea typeface="+mn-ea"/>
                <a:cs typeface="+mn-cs"/>
              </a:rPr>
              <a:t>up </a:t>
            </a:r>
            <a:r>
              <a:rPr lang="en-US" sz="1200" kern="1200" dirty="0">
                <a:solidFill>
                  <a:schemeClr val="tx1"/>
                </a:solidFill>
                <a:effectLst/>
                <a:latin typeface="+mn-lt"/>
                <a:ea typeface="+mn-ea"/>
                <a:cs typeface="+mn-cs"/>
              </a:rPr>
              <a:t>arrow, it means the data in that field originates from another form. In addition, ProFile displays amounts in those fields in blue fon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hen a field has an up-arrow view, double-click it (or press F6) and ProFile will jump to the referenced form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you decide to override a calculated field, ProFile does two things; it displays a red diamond in that field, and it also displays the overridden amount in red font.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493979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5 and discuss how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memos are great for embedding notes and reminders into any field on a tax return. And you can us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calculator to add up a series of numbers and enter the total into any field of the tax return. </a:t>
            </a:r>
            <a:endParaRPr lang="en-US" dirty="0"/>
          </a:p>
          <a:p>
            <a:r>
              <a:rPr lang="en-US" sz="1200" b="1" kern="1200" dirty="0">
                <a:solidFill>
                  <a:schemeClr val="tx1"/>
                </a:solidFill>
                <a:effectLst/>
                <a:latin typeface="+mn-lt"/>
                <a:ea typeface="+mn-ea"/>
                <a:cs typeface="+mn-cs"/>
              </a:rPr>
              <a:t>Using Memos </a:t>
            </a:r>
            <a:endParaRPr lang="en-US" dirty="0"/>
          </a:p>
          <a:p>
            <a:r>
              <a:rPr lang="en-US" sz="1200" kern="1200" dirty="0">
                <a:solidFill>
                  <a:schemeClr val="tx1"/>
                </a:solidFill>
                <a:effectLst/>
                <a:latin typeface="+mn-lt"/>
                <a:ea typeface="+mn-ea"/>
                <a:cs typeface="+mn-cs"/>
              </a:rPr>
              <a:t>To record a memo, click into any field </a:t>
            </a:r>
          </a:p>
          <a:p>
            <a:r>
              <a:rPr lang="en-US" sz="1200" kern="1200" dirty="0">
                <a:solidFill>
                  <a:schemeClr val="tx1"/>
                </a:solidFill>
                <a:effectLst/>
                <a:latin typeface="+mn-lt"/>
                <a:ea typeface="+mn-ea"/>
                <a:cs typeface="+mn-cs"/>
              </a:rPr>
              <a:t>Press the F8 key </a:t>
            </a:r>
          </a:p>
          <a:p>
            <a:r>
              <a:rPr lang="en-US" sz="1200" kern="1200" dirty="0">
                <a:solidFill>
                  <a:schemeClr val="tx1"/>
                </a:solidFill>
                <a:effectLst/>
                <a:latin typeface="+mn-lt"/>
                <a:ea typeface="+mn-ea"/>
                <a:cs typeface="+mn-cs"/>
              </a:rPr>
              <a:t>Type in your note </a:t>
            </a:r>
          </a:p>
          <a:p>
            <a:r>
              <a:rPr lang="en-US" sz="1200" kern="1200" dirty="0">
                <a:solidFill>
                  <a:schemeClr val="tx1"/>
                </a:solidFill>
                <a:effectLst/>
                <a:latin typeface="+mn-lt"/>
                <a:ea typeface="+mn-ea"/>
                <a:cs typeface="+mn-cs"/>
              </a:rPr>
              <a:t>Click OK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Using Tapes </a:t>
            </a:r>
            <a:endParaRPr lang="en-US" dirty="0">
              <a:effectLst/>
            </a:endParaRPr>
          </a:p>
          <a:p>
            <a:pPr lvl="1"/>
            <a:r>
              <a:rPr lang="en-US" sz="1200" kern="1200" dirty="0">
                <a:solidFill>
                  <a:schemeClr val="tx1"/>
                </a:solidFill>
                <a:effectLst/>
                <a:latin typeface="+mn-lt"/>
                <a:ea typeface="+mn-ea"/>
                <a:cs typeface="+mn-cs"/>
              </a:rPr>
              <a:t>To use </a:t>
            </a:r>
            <a:r>
              <a:rPr lang="en-US" sz="1200" i="1" kern="1200" dirty="0">
                <a:solidFill>
                  <a:schemeClr val="tx1"/>
                </a:solidFill>
                <a:effectLst/>
                <a:latin typeface="+mn-lt"/>
                <a:ea typeface="+mn-ea"/>
                <a:cs typeface="+mn-cs"/>
              </a:rPr>
              <a:t>Tapes</a:t>
            </a:r>
            <a:r>
              <a:rPr lang="en-US" sz="1200" kern="1200" dirty="0">
                <a:solidFill>
                  <a:schemeClr val="tx1"/>
                </a:solidFill>
                <a:effectLst/>
                <a:latin typeface="+mn-lt"/>
                <a:ea typeface="+mn-ea"/>
                <a:cs typeface="+mn-cs"/>
              </a:rPr>
              <a:t>, click on a field </a:t>
            </a:r>
          </a:p>
          <a:p>
            <a:pPr lvl="1"/>
            <a:r>
              <a:rPr lang="en-US" sz="1200" kern="1200" dirty="0">
                <a:solidFill>
                  <a:schemeClr val="tx1"/>
                </a:solidFill>
                <a:effectLst/>
                <a:latin typeface="+mn-lt"/>
                <a:ea typeface="+mn-ea"/>
                <a:cs typeface="+mn-cs"/>
              </a:rPr>
              <a:t>Press CTRL+F8 </a:t>
            </a:r>
          </a:p>
          <a:p>
            <a:pPr lvl="1"/>
            <a:r>
              <a:rPr lang="en-US" sz="1200" kern="1200" dirty="0">
                <a:solidFill>
                  <a:schemeClr val="tx1"/>
                </a:solidFill>
                <a:effectLst/>
                <a:latin typeface="+mn-lt"/>
                <a:ea typeface="+mn-ea"/>
                <a:cs typeface="+mn-cs"/>
              </a:rPr>
              <a:t>In the window that opens, enter a description (optional), and a value on each line </a:t>
            </a:r>
          </a:p>
          <a:p>
            <a:pPr lvl="1"/>
            <a:r>
              <a:rPr lang="en-US" sz="1200" kern="1200" dirty="0">
                <a:solidFill>
                  <a:schemeClr val="tx1"/>
                </a:solidFill>
                <a:effectLst/>
                <a:latin typeface="+mn-lt"/>
                <a:ea typeface="+mn-ea"/>
                <a:cs typeface="+mn-cs"/>
              </a:rPr>
              <a:t>Press the = key and ProFile will paste the sum directly into the selected field </a:t>
            </a:r>
          </a:p>
          <a:p>
            <a:pPr lvl="1"/>
            <a:endParaRPr lang="en-US" sz="1200" kern="1200" dirty="0">
              <a:solidFill>
                <a:schemeClr val="tx1"/>
              </a:solidFill>
              <a:effectLst/>
              <a:latin typeface="+mn-lt"/>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lang="en-US" sz="1200" i="1" kern="1200" dirty="0">
                <a:solidFill>
                  <a:schemeClr val="tx1"/>
                </a:solidFill>
                <a:effectLst/>
                <a:latin typeface="+mn-lt"/>
                <a:ea typeface="+mn-ea"/>
                <a:cs typeface="+mn-cs"/>
              </a:rPr>
              <a:t>Note that When you record a memo, or use a tape in a field, ProFile puts a green background in that field. To display the underlying memo or tape, just hover your mouse over that field </a:t>
            </a:r>
            <a:endParaRPr lang="en-US" dirty="0">
              <a:effectLst/>
            </a:endParaRPr>
          </a:p>
          <a:p>
            <a:pPr lvl="1"/>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15820051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7 and discuss </a:t>
            </a:r>
            <a:r>
              <a:rPr lang="en-CA" baseline="0" dirty="0"/>
              <a:t>the Form Explorer</a:t>
            </a:r>
          </a:p>
          <a:p>
            <a:pPr marL="171450" indent="-171450">
              <a:buFontTx/>
              <a:buChar char="-"/>
            </a:pPr>
            <a:endParaRPr lang="en-CA" baseline="0" dirty="0"/>
          </a:p>
          <a:p>
            <a:r>
              <a:rPr lang="en-CA" sz="1200" kern="1200" dirty="0">
                <a:solidFill>
                  <a:schemeClr val="tx1"/>
                </a:solidFill>
                <a:effectLst/>
                <a:latin typeface="+mn-lt"/>
                <a:ea typeface="+mn-ea"/>
                <a:cs typeface="+mn-cs"/>
              </a:rPr>
              <a:t>When preparing a tax return, you will, of course, want to work with additional forms and schedules. And, given you don’t enter data directly on the tax jacket, this means you have to find those supporting forms and schedules somewhere in ProFile. </a:t>
            </a:r>
            <a:endParaRPr lang="en-CA" dirty="0"/>
          </a:p>
          <a:p>
            <a:r>
              <a:rPr lang="en-CA" sz="1200" kern="1200" dirty="0">
                <a:solidFill>
                  <a:schemeClr val="tx1"/>
                </a:solidFill>
                <a:effectLst/>
                <a:latin typeface="+mn-lt"/>
                <a:ea typeface="+mn-ea"/>
                <a:cs typeface="+mn-cs"/>
              </a:rPr>
              <a:t>Though </a:t>
            </a:r>
            <a:r>
              <a:rPr lang="en-CA" sz="1200" kern="1200" dirty="0" err="1">
                <a:solidFill>
                  <a:schemeClr val="tx1"/>
                </a:solidFill>
                <a:effectLst/>
                <a:latin typeface="+mn-lt"/>
                <a:ea typeface="+mn-ea"/>
                <a:cs typeface="+mn-cs"/>
              </a:rPr>
              <a:t>ProFile’s</a:t>
            </a:r>
            <a:r>
              <a:rPr lang="en-CA" sz="1200" kern="1200" dirty="0">
                <a:solidFill>
                  <a:schemeClr val="tx1"/>
                </a:solidFill>
                <a:effectLst/>
                <a:latin typeface="+mn-lt"/>
                <a:ea typeface="+mn-ea"/>
                <a:cs typeface="+mn-cs"/>
              </a:rPr>
              <a:t> toolbar includes a </a:t>
            </a:r>
            <a:r>
              <a:rPr lang="en-CA" sz="1200" i="1" kern="1200" dirty="0">
                <a:solidFill>
                  <a:schemeClr val="tx1"/>
                </a:solidFill>
                <a:effectLst/>
                <a:latin typeface="+mn-lt"/>
                <a:ea typeface="+mn-ea"/>
                <a:cs typeface="+mn-cs"/>
              </a:rPr>
              <a:t>Search </a:t>
            </a:r>
            <a:r>
              <a:rPr lang="en-CA" sz="1200" kern="1200" dirty="0">
                <a:solidFill>
                  <a:schemeClr val="tx1"/>
                </a:solidFill>
                <a:effectLst/>
                <a:latin typeface="+mn-lt"/>
                <a:ea typeface="+mn-ea"/>
                <a:cs typeface="+mn-cs"/>
              </a:rPr>
              <a:t>field that lets you enter the name of the form or schedule that you need, you may want a little more horsepower than that. You may indeed want to use </a:t>
            </a:r>
            <a:r>
              <a:rPr lang="en-CA" sz="1200" i="1" kern="1200" dirty="0">
                <a:solidFill>
                  <a:schemeClr val="tx1"/>
                </a:solidFill>
                <a:effectLst/>
                <a:latin typeface="+mn-lt"/>
                <a:ea typeface="+mn-ea"/>
                <a:cs typeface="+mn-cs"/>
              </a:rPr>
              <a:t>The Form Explorer. </a:t>
            </a:r>
          </a:p>
          <a:p>
            <a:endParaRPr lang="en-CA" sz="1200" i="1"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To open the Form Explorer, click on the </a:t>
            </a:r>
            <a:r>
              <a:rPr lang="en-CA" sz="1200" i="1" kern="1200" dirty="0">
                <a:solidFill>
                  <a:schemeClr val="tx1"/>
                </a:solidFill>
                <a:effectLst/>
                <a:latin typeface="+mn-lt"/>
                <a:ea typeface="+mn-ea"/>
                <a:cs typeface="+mn-cs"/>
              </a:rPr>
              <a:t>Filing Cabinet </a:t>
            </a:r>
            <a:r>
              <a:rPr lang="en-CA" sz="1200" kern="1200" dirty="0">
                <a:solidFill>
                  <a:schemeClr val="tx1"/>
                </a:solidFill>
                <a:effectLst/>
                <a:latin typeface="+mn-lt"/>
                <a:ea typeface="+mn-ea"/>
                <a:cs typeface="+mn-cs"/>
              </a:rPr>
              <a:t>icon, or just press your keyboard’s </a:t>
            </a:r>
            <a:r>
              <a:rPr lang="en-CA" sz="1200" i="1" kern="1200" dirty="0">
                <a:solidFill>
                  <a:schemeClr val="tx1"/>
                </a:solidFill>
                <a:effectLst/>
                <a:latin typeface="+mn-lt"/>
                <a:ea typeface="+mn-ea"/>
                <a:cs typeface="+mn-cs"/>
              </a:rPr>
              <a:t>F4 </a:t>
            </a:r>
            <a:r>
              <a:rPr lang="en-CA" sz="1200" kern="1200" dirty="0">
                <a:solidFill>
                  <a:schemeClr val="tx1"/>
                </a:solidFill>
                <a:effectLst/>
                <a:latin typeface="+mn-lt"/>
                <a:ea typeface="+mn-ea"/>
                <a:cs typeface="+mn-cs"/>
              </a:rPr>
              <a:t>key </a:t>
            </a:r>
          </a:p>
          <a:p>
            <a:r>
              <a:rPr lang="en-CA" sz="1200" kern="1200" dirty="0">
                <a:solidFill>
                  <a:schemeClr val="tx1"/>
                </a:solidFill>
                <a:effectLst/>
                <a:latin typeface="+mn-lt"/>
                <a:ea typeface="+mn-ea"/>
                <a:cs typeface="+mn-cs"/>
              </a:rPr>
              <a:t>If you use </a:t>
            </a:r>
            <a:r>
              <a:rPr lang="en-CA" sz="1200" i="1" kern="1200" dirty="0">
                <a:solidFill>
                  <a:schemeClr val="tx1"/>
                </a:solidFill>
                <a:effectLst/>
                <a:latin typeface="+mn-lt"/>
                <a:ea typeface="+mn-ea"/>
                <a:cs typeface="+mn-cs"/>
              </a:rPr>
              <a:t>Windows Explorer </a:t>
            </a:r>
            <a:r>
              <a:rPr lang="en-CA" sz="1200" kern="1200" dirty="0">
                <a:solidFill>
                  <a:schemeClr val="tx1"/>
                </a:solidFill>
                <a:effectLst/>
                <a:latin typeface="+mn-lt"/>
                <a:ea typeface="+mn-ea"/>
                <a:cs typeface="+mn-cs"/>
              </a:rPr>
              <a:t>TM, you’ll be comfortable with </a:t>
            </a:r>
            <a:r>
              <a:rPr lang="en-CA" sz="1200" kern="1200" dirty="0" err="1">
                <a:solidFill>
                  <a:schemeClr val="tx1"/>
                </a:solidFill>
                <a:effectLst/>
                <a:latin typeface="+mn-lt"/>
                <a:ea typeface="+mn-ea"/>
                <a:cs typeface="+mn-cs"/>
              </a:rPr>
              <a:t>ProFile’s</a:t>
            </a:r>
            <a:r>
              <a:rPr lang="en-CA" sz="1200" kern="1200" dirty="0">
                <a:solidFill>
                  <a:schemeClr val="tx1"/>
                </a:solidFill>
                <a:effectLst/>
                <a:latin typeface="+mn-lt"/>
                <a:ea typeface="+mn-ea"/>
                <a:cs typeface="+mn-cs"/>
              </a:rPr>
              <a:t> </a:t>
            </a:r>
            <a:r>
              <a:rPr lang="en-CA" sz="1200" i="1" kern="1200" dirty="0">
                <a:solidFill>
                  <a:schemeClr val="tx1"/>
                </a:solidFill>
                <a:effectLst/>
                <a:latin typeface="+mn-lt"/>
                <a:ea typeface="+mn-ea"/>
                <a:cs typeface="+mn-cs"/>
              </a:rPr>
              <a:t>Form Explorer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The right pane of the </a:t>
            </a:r>
            <a:r>
              <a:rPr lang="en-CA" sz="1200" i="1" kern="1200" dirty="0">
                <a:solidFill>
                  <a:schemeClr val="tx1"/>
                </a:solidFill>
                <a:effectLst/>
                <a:latin typeface="+mn-lt"/>
                <a:ea typeface="+mn-ea"/>
                <a:cs typeface="+mn-cs"/>
              </a:rPr>
              <a:t>Form Explorer </a:t>
            </a:r>
            <a:r>
              <a:rPr lang="en-CA" sz="1200" kern="1200" dirty="0">
                <a:solidFill>
                  <a:schemeClr val="tx1"/>
                </a:solidFill>
                <a:effectLst/>
                <a:latin typeface="+mn-lt"/>
                <a:ea typeface="+mn-ea"/>
                <a:cs typeface="+mn-cs"/>
              </a:rPr>
              <a:t>window includes column headings for each form’s full name, its </a:t>
            </a:r>
          </a:p>
          <a:p>
            <a:r>
              <a:rPr lang="en-CA" sz="1200" kern="1200" dirty="0">
                <a:solidFill>
                  <a:schemeClr val="tx1"/>
                </a:solidFill>
                <a:effectLst/>
                <a:latin typeface="+mn-lt"/>
                <a:ea typeface="+mn-ea"/>
                <a:cs typeface="+mn-cs"/>
              </a:rPr>
              <a:t>category, and its description </a:t>
            </a:r>
          </a:p>
          <a:p>
            <a:r>
              <a:rPr lang="en-CA" sz="1200" kern="1200" dirty="0">
                <a:solidFill>
                  <a:schemeClr val="tx1"/>
                </a:solidFill>
                <a:effectLst/>
                <a:latin typeface="+mn-lt"/>
                <a:ea typeface="+mn-ea"/>
                <a:cs typeface="+mn-cs"/>
              </a:rPr>
              <a:t>Notice, too, for carried forward files, the </a:t>
            </a:r>
            <a:r>
              <a:rPr lang="en-CA" sz="1200" i="1" kern="1200" dirty="0">
                <a:solidFill>
                  <a:schemeClr val="tx1"/>
                </a:solidFill>
                <a:effectLst/>
                <a:latin typeface="+mn-lt"/>
                <a:ea typeface="+mn-ea"/>
                <a:cs typeface="+mn-cs"/>
              </a:rPr>
              <a:t>Form Explorer </a:t>
            </a:r>
            <a:r>
              <a:rPr lang="en-CA" sz="1200" kern="1200" dirty="0">
                <a:solidFill>
                  <a:schemeClr val="tx1"/>
                </a:solidFill>
                <a:effectLst/>
                <a:latin typeface="+mn-lt"/>
                <a:ea typeface="+mn-ea"/>
                <a:cs typeface="+mn-cs"/>
              </a:rPr>
              <a:t>indicates whether a form was used in the </a:t>
            </a:r>
          </a:p>
          <a:p>
            <a:r>
              <a:rPr lang="en-CA" sz="1200" kern="1200" dirty="0">
                <a:solidFill>
                  <a:schemeClr val="tx1"/>
                </a:solidFill>
                <a:effectLst/>
                <a:latin typeface="+mn-lt"/>
                <a:ea typeface="+mn-ea"/>
                <a:cs typeface="+mn-cs"/>
              </a:rPr>
              <a:t>current or prior year </a:t>
            </a:r>
          </a:p>
          <a:p>
            <a:r>
              <a:rPr lang="en-CA" sz="1200" kern="1200" dirty="0">
                <a:solidFill>
                  <a:schemeClr val="tx1"/>
                </a:solidFill>
                <a:effectLst/>
                <a:latin typeface="+mn-lt"/>
                <a:ea typeface="+mn-ea"/>
                <a:cs typeface="+mn-cs"/>
              </a:rPr>
              <a:t>In the left pane, you’ll find folders that let you filter which forms to display </a:t>
            </a:r>
          </a:p>
          <a:p>
            <a:r>
              <a:rPr lang="en-CA" sz="1200" kern="1200" dirty="0">
                <a:solidFill>
                  <a:schemeClr val="tx1"/>
                </a:solidFill>
                <a:effectLst/>
                <a:latin typeface="+mn-lt"/>
                <a:ea typeface="+mn-ea"/>
                <a:cs typeface="+mn-cs"/>
              </a:rPr>
              <a:t>To find a form, just type its name in the search field </a:t>
            </a:r>
          </a:p>
          <a:p>
            <a:r>
              <a:rPr lang="en-CA" sz="1200" b="1" kern="1200" dirty="0">
                <a:solidFill>
                  <a:schemeClr val="tx1"/>
                </a:solidFill>
                <a:effectLst/>
                <a:latin typeface="+mn-lt"/>
                <a:ea typeface="+mn-ea"/>
                <a:cs typeface="+mn-cs"/>
              </a:rPr>
              <a:t>Form Explorer Icons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There are four icons at the top right of the </a:t>
            </a:r>
            <a:r>
              <a:rPr lang="en-CA" sz="1200" i="1" kern="1200" dirty="0">
                <a:solidFill>
                  <a:schemeClr val="tx1"/>
                </a:solidFill>
                <a:effectLst/>
                <a:latin typeface="+mn-lt"/>
                <a:ea typeface="+mn-ea"/>
                <a:cs typeface="+mn-cs"/>
              </a:rPr>
              <a:t>Form Explorer </a:t>
            </a:r>
            <a:r>
              <a:rPr lang="en-CA" sz="1200" kern="1200" dirty="0">
                <a:solidFill>
                  <a:schemeClr val="tx1"/>
                </a:solidFill>
                <a:effectLst/>
                <a:latin typeface="+mn-lt"/>
                <a:ea typeface="+mn-ea"/>
                <a:cs typeface="+mn-cs"/>
              </a:rPr>
              <a:t>window. These icons provide view options. The bullets below explain each icon’s purpose: </a:t>
            </a:r>
          </a:p>
          <a:p>
            <a:r>
              <a:rPr lang="en-CA" sz="1200" kern="1200" dirty="0">
                <a:solidFill>
                  <a:schemeClr val="tx1"/>
                </a:solidFill>
                <a:effectLst/>
                <a:latin typeface="+mn-lt"/>
                <a:ea typeface="+mn-ea"/>
                <a:cs typeface="+mn-cs"/>
              </a:rPr>
              <a:t>As the name implies, the </a:t>
            </a:r>
            <a:r>
              <a:rPr lang="en-CA" sz="1200" i="1" kern="1200" dirty="0">
                <a:solidFill>
                  <a:schemeClr val="tx1"/>
                </a:solidFill>
                <a:effectLst/>
                <a:latin typeface="+mn-lt"/>
                <a:ea typeface="+mn-ea"/>
                <a:cs typeface="+mn-cs"/>
              </a:rPr>
              <a:t>Detail </a:t>
            </a:r>
            <a:r>
              <a:rPr lang="en-CA" sz="1200" kern="1200" dirty="0">
                <a:solidFill>
                  <a:schemeClr val="tx1"/>
                </a:solidFill>
                <a:effectLst/>
                <a:latin typeface="+mn-lt"/>
                <a:ea typeface="+mn-ea"/>
                <a:cs typeface="+mn-cs"/>
              </a:rPr>
              <a:t>view provides complete information, such as category and description, for each form. </a:t>
            </a:r>
          </a:p>
          <a:p>
            <a:r>
              <a:rPr lang="en-CA" sz="1200" kern="1200" dirty="0">
                <a:solidFill>
                  <a:schemeClr val="tx1"/>
                </a:solidFill>
                <a:effectLst/>
                <a:latin typeface="+mn-lt"/>
                <a:ea typeface="+mn-ea"/>
                <a:cs typeface="+mn-cs"/>
              </a:rPr>
              <a:t>The </a:t>
            </a:r>
            <a:r>
              <a:rPr lang="en-CA" sz="1200" i="1" kern="1200" dirty="0">
                <a:solidFill>
                  <a:schemeClr val="tx1"/>
                </a:solidFill>
                <a:effectLst/>
                <a:latin typeface="+mn-lt"/>
                <a:ea typeface="+mn-ea"/>
                <a:cs typeface="+mn-cs"/>
              </a:rPr>
              <a:t>List view </a:t>
            </a:r>
            <a:r>
              <a:rPr lang="en-CA" sz="1200" kern="1200" dirty="0">
                <a:solidFill>
                  <a:schemeClr val="tx1"/>
                </a:solidFill>
                <a:effectLst/>
                <a:latin typeface="+mn-lt"/>
                <a:ea typeface="+mn-ea"/>
                <a:cs typeface="+mn-cs"/>
              </a:rPr>
              <a:t>gives you a simplified view where all forms are displayed as icons. </a:t>
            </a:r>
          </a:p>
          <a:p>
            <a:r>
              <a:rPr lang="en-CA" sz="1200" kern="1200" dirty="0">
                <a:solidFill>
                  <a:schemeClr val="tx1"/>
                </a:solidFill>
                <a:effectLst/>
                <a:latin typeface="+mn-lt"/>
                <a:ea typeface="+mn-ea"/>
                <a:cs typeface="+mn-cs"/>
              </a:rPr>
              <a:t>The </a:t>
            </a:r>
            <a:r>
              <a:rPr lang="en-CA" sz="1200" i="1" kern="1200" dirty="0">
                <a:solidFill>
                  <a:schemeClr val="tx1"/>
                </a:solidFill>
                <a:effectLst/>
                <a:latin typeface="+mn-lt"/>
                <a:ea typeface="+mn-ea"/>
                <a:cs typeface="+mn-cs"/>
              </a:rPr>
              <a:t>Key view </a:t>
            </a:r>
            <a:r>
              <a:rPr lang="en-CA" sz="1200" kern="1200" dirty="0">
                <a:solidFill>
                  <a:schemeClr val="tx1"/>
                </a:solidFill>
                <a:effectLst/>
                <a:latin typeface="+mn-lt"/>
                <a:ea typeface="+mn-ea"/>
                <a:cs typeface="+mn-cs"/>
              </a:rPr>
              <a:t>lets you use keywords to find the required form. This view is ideal when you know what </a:t>
            </a:r>
          </a:p>
          <a:p>
            <a:r>
              <a:rPr lang="en-CA" sz="1200" kern="1200" dirty="0">
                <a:solidFill>
                  <a:schemeClr val="tx1"/>
                </a:solidFill>
                <a:effectLst/>
                <a:latin typeface="+mn-lt"/>
                <a:ea typeface="+mn-ea"/>
                <a:cs typeface="+mn-cs"/>
              </a:rPr>
              <a:t>information you’re searching but you’re not sure of the form’s name. </a:t>
            </a:r>
          </a:p>
          <a:p>
            <a:r>
              <a:rPr lang="en-CA" sz="1200" kern="1200" dirty="0">
                <a:solidFill>
                  <a:schemeClr val="tx1"/>
                </a:solidFill>
                <a:effectLst/>
                <a:latin typeface="+mn-lt"/>
                <a:ea typeface="+mn-ea"/>
                <a:cs typeface="+mn-cs"/>
              </a:rPr>
              <a:t>Lastly, the </a:t>
            </a:r>
            <a:r>
              <a:rPr lang="en-CA" sz="1200" i="1" kern="1200" dirty="0">
                <a:solidFill>
                  <a:schemeClr val="tx1"/>
                </a:solidFill>
                <a:effectLst/>
                <a:latin typeface="+mn-lt"/>
                <a:ea typeface="+mn-ea"/>
                <a:cs typeface="+mn-cs"/>
              </a:rPr>
              <a:t>Line </a:t>
            </a:r>
            <a:r>
              <a:rPr lang="en-CA" sz="1200" kern="1200" dirty="0">
                <a:solidFill>
                  <a:schemeClr val="tx1"/>
                </a:solidFill>
                <a:effectLst/>
                <a:latin typeface="+mn-lt"/>
                <a:ea typeface="+mn-ea"/>
                <a:cs typeface="+mn-cs"/>
              </a:rPr>
              <a:t>view provides a line by line listing of all available forms. You find a form, in this view, </a:t>
            </a:r>
          </a:p>
          <a:p>
            <a:r>
              <a:rPr lang="en-CA" sz="1200" kern="1200" dirty="0">
                <a:solidFill>
                  <a:schemeClr val="tx1"/>
                </a:solidFill>
                <a:effectLst/>
                <a:latin typeface="+mn-lt"/>
                <a:ea typeface="+mn-ea"/>
                <a:cs typeface="+mn-cs"/>
              </a:rPr>
              <a:t>by entering a tax line number in the Form field </a:t>
            </a:r>
          </a:p>
          <a:p>
            <a:endParaRPr lang="en-CA" sz="1200" kern="1200" dirty="0">
              <a:solidFill>
                <a:schemeClr val="tx1"/>
              </a:solidFill>
              <a:effectLst/>
              <a:latin typeface="+mn-lt"/>
              <a:ea typeface="+mn-ea"/>
              <a:cs typeface="+mn-cs"/>
            </a:endParaRPr>
          </a:p>
          <a:p>
            <a:endParaRPr lang="en-CA" dirty="0"/>
          </a:p>
          <a:p>
            <a:pPr marL="171450" indent="-171450">
              <a:buFontTx/>
              <a:buChar char="-"/>
            </a:pPr>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4</a:t>
            </a:fld>
            <a:endParaRPr lang="en-US"/>
          </a:p>
        </p:txBody>
      </p:sp>
    </p:spTree>
    <p:extLst>
      <p:ext uri="{BB962C8B-B14F-4D97-AF65-F5344CB8AC3E}">
        <p14:creationId xmlns:p14="http://schemas.microsoft.com/office/powerpoint/2010/main" val="894737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8 and discuss </a:t>
            </a:r>
            <a:r>
              <a:rPr lang="en-CA" baseline="0" dirty="0"/>
              <a:t>how to use and customize the Data Monitor </a:t>
            </a:r>
          </a:p>
          <a:p>
            <a:endParaRPr lang="en-CA"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As you add information, and append more forms to the return, ProFile constantly updates the taxpayer’s tax status. At the very bottom of the window, ProFile displays an at-a-glance summary of the taxpayer’s tax status</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kern="1200" baseline="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Customizing the Data Monitor </a:t>
            </a:r>
            <a:endParaRPr lang="en-CA" dirty="0"/>
          </a:p>
          <a:p>
            <a:r>
              <a:rPr lang="en-CA" sz="1200" kern="1200" dirty="0">
                <a:solidFill>
                  <a:schemeClr val="tx1"/>
                </a:solidFill>
                <a:effectLst/>
                <a:latin typeface="+mn-lt"/>
                <a:ea typeface="+mn-ea"/>
                <a:cs typeface="+mn-cs"/>
              </a:rPr>
              <a:t>You can customize and add information to the </a:t>
            </a:r>
            <a:r>
              <a:rPr lang="en-CA" sz="1200" i="1" kern="1200" dirty="0">
                <a:solidFill>
                  <a:schemeClr val="tx1"/>
                </a:solidFill>
                <a:effectLst/>
                <a:latin typeface="+mn-lt"/>
                <a:ea typeface="+mn-ea"/>
                <a:cs typeface="+mn-cs"/>
              </a:rPr>
              <a:t>Data Monitor</a:t>
            </a:r>
            <a:r>
              <a:rPr lang="en-CA" sz="1200" kern="1200" dirty="0">
                <a:solidFill>
                  <a:schemeClr val="tx1"/>
                </a:solidFill>
                <a:effectLst/>
                <a:latin typeface="+mn-lt"/>
                <a:ea typeface="+mn-ea"/>
                <a:cs typeface="+mn-cs"/>
              </a:rPr>
              <a:t>. </a:t>
            </a:r>
            <a:endParaRPr lang="en-CA" dirty="0"/>
          </a:p>
          <a:p>
            <a:r>
              <a:rPr lang="en-CA" sz="1200" kern="1200" dirty="0">
                <a:solidFill>
                  <a:schemeClr val="tx1"/>
                </a:solidFill>
                <a:effectLst/>
                <a:latin typeface="+mn-lt"/>
                <a:ea typeface="+mn-ea"/>
                <a:cs typeface="+mn-cs"/>
              </a:rPr>
              <a:t>For example, to display line 150, just highlight it </a:t>
            </a:r>
          </a:p>
          <a:p>
            <a:r>
              <a:rPr lang="en-CA" sz="1200" kern="1200" dirty="0">
                <a:solidFill>
                  <a:schemeClr val="tx1"/>
                </a:solidFill>
                <a:effectLst/>
                <a:latin typeface="+mn-lt"/>
                <a:ea typeface="+mn-ea"/>
                <a:cs typeface="+mn-cs"/>
              </a:rPr>
              <a:t>Click the “+” sign at the bottom of the window </a:t>
            </a:r>
          </a:p>
          <a:p>
            <a:r>
              <a:rPr lang="en-CA" sz="1200" kern="1200" dirty="0">
                <a:solidFill>
                  <a:schemeClr val="tx1"/>
                </a:solidFill>
                <a:effectLst/>
                <a:latin typeface="+mn-lt"/>
                <a:ea typeface="+mn-ea"/>
                <a:cs typeface="+mn-cs"/>
              </a:rPr>
              <a:t>You have just added Line 150 to the </a:t>
            </a:r>
            <a:r>
              <a:rPr lang="en-CA" sz="1200" i="1" kern="1200" dirty="0">
                <a:solidFill>
                  <a:schemeClr val="tx1"/>
                </a:solidFill>
                <a:effectLst/>
                <a:latin typeface="+mn-lt"/>
                <a:ea typeface="+mn-ea"/>
                <a:cs typeface="+mn-cs"/>
              </a:rPr>
              <a:t>Data Monitor </a:t>
            </a:r>
            <a:endParaRPr lang="en-CA"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5</a:t>
            </a:fld>
            <a:endParaRPr lang="en-US"/>
          </a:p>
        </p:txBody>
      </p:sp>
    </p:spTree>
    <p:extLst>
      <p:ext uri="{BB962C8B-B14F-4D97-AF65-F5344CB8AC3E}">
        <p14:creationId xmlns:p14="http://schemas.microsoft.com/office/powerpoint/2010/main" val="13457292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20 and discuss </a:t>
            </a:r>
            <a:r>
              <a:rPr lang="en-CA" baseline="0" dirty="0"/>
              <a:t>the power of a right-click</a:t>
            </a:r>
          </a:p>
          <a:p>
            <a:endParaRPr lang="en-CA" baseline="0" dirty="0"/>
          </a:p>
          <a:p>
            <a:endParaRPr lang="en-CA" baseline="0" dirty="0"/>
          </a:p>
          <a:p>
            <a:r>
              <a:rPr lang="en-CA" sz="1200" kern="1200" dirty="0">
                <a:solidFill>
                  <a:schemeClr val="tx1"/>
                </a:solidFill>
                <a:effectLst/>
                <a:latin typeface="+mn-lt"/>
                <a:ea typeface="+mn-ea"/>
                <a:cs typeface="+mn-cs"/>
              </a:rPr>
              <a:t>Right-click over a blank area of a form, and ProFile gives you a set of instructions including </a:t>
            </a:r>
            <a:r>
              <a:rPr lang="en-CA" sz="1200" i="1" kern="1200" dirty="0">
                <a:solidFill>
                  <a:schemeClr val="tx1"/>
                </a:solidFill>
                <a:effectLst/>
                <a:latin typeface="+mn-lt"/>
                <a:ea typeface="+mn-ea"/>
                <a:cs typeface="+mn-cs"/>
              </a:rPr>
              <a:t>Print, Carry forward, Close, and Copy Memos and Tapes </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You can also jump to specific areas of that form and, for carried-forward files, you can also launch last year’s tax return </a:t>
            </a:r>
          </a:p>
          <a:p>
            <a:endParaRPr lang="en-CA"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If you right-click on a field, you’ll see additional commands, including </a:t>
            </a:r>
            <a:r>
              <a:rPr lang="en-CA" sz="1200" i="1" kern="1200" dirty="0">
                <a:solidFill>
                  <a:schemeClr val="tx1"/>
                </a:solidFill>
                <a:effectLst/>
                <a:latin typeface="+mn-lt"/>
                <a:ea typeface="+mn-ea"/>
                <a:cs typeface="+mn-cs"/>
              </a:rPr>
              <a:t>Cut, Copy, Paste</a:t>
            </a:r>
            <a:r>
              <a:rPr lang="en-CA" sz="1200" kern="1200" dirty="0">
                <a:solidFill>
                  <a:schemeClr val="tx1"/>
                </a:solidFill>
                <a:effectLst/>
                <a:latin typeface="+mn-lt"/>
                <a:ea typeface="+mn-ea"/>
                <a:cs typeface="+mn-cs"/>
              </a:rPr>
              <a:t>, as well as </a:t>
            </a:r>
            <a:r>
              <a:rPr lang="en-CA" sz="1200" i="1" kern="1200" dirty="0">
                <a:solidFill>
                  <a:schemeClr val="tx1"/>
                </a:solidFill>
                <a:effectLst/>
                <a:latin typeface="+mn-lt"/>
                <a:ea typeface="+mn-ea"/>
                <a:cs typeface="+mn-cs"/>
              </a:rPr>
              <a:t>Insert/Delete columns </a:t>
            </a:r>
            <a:r>
              <a:rPr lang="en-CA" sz="1200" kern="1200" dirty="0">
                <a:solidFill>
                  <a:schemeClr val="tx1"/>
                </a:solidFill>
                <a:effectLst/>
                <a:latin typeface="+mn-lt"/>
                <a:ea typeface="+mn-ea"/>
                <a:cs typeface="+mn-cs"/>
              </a:rPr>
              <a:t>and </a:t>
            </a:r>
            <a:r>
              <a:rPr lang="en-CA" sz="1200" i="1" kern="1200" dirty="0">
                <a:solidFill>
                  <a:schemeClr val="tx1"/>
                </a:solidFill>
                <a:effectLst/>
                <a:latin typeface="+mn-lt"/>
                <a:ea typeface="+mn-ea"/>
                <a:cs typeface="+mn-cs"/>
              </a:rPr>
              <a:t>Attach Memo/Tape </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i="1"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CA" sz="1200" i="1" kern="1200" dirty="0">
                <a:solidFill>
                  <a:schemeClr val="tx1"/>
                </a:solidFill>
                <a:effectLst/>
                <a:latin typeface="+mn-lt"/>
                <a:ea typeface="+mn-ea"/>
                <a:cs typeface="+mn-cs"/>
              </a:rPr>
              <a:t>When you right-click over a blank area, or in a field, of the T1 Jacket, you can jump to specific areas of the tax file </a:t>
            </a:r>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a:p>
            <a:endParaRPr lang="en-CA"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B19A31D-4D4F-47CE-9926-B2771FC72306}" type="slidenum">
              <a:rPr lang="en-US" smtClean="0"/>
              <a:t>16</a:t>
            </a:fld>
            <a:endParaRPr lang="en-US"/>
          </a:p>
        </p:txBody>
      </p:sp>
    </p:spTree>
    <p:extLst>
      <p:ext uri="{BB962C8B-B14F-4D97-AF65-F5344CB8AC3E}">
        <p14:creationId xmlns:p14="http://schemas.microsoft.com/office/powerpoint/2010/main" val="16544182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21 and discuss </a:t>
            </a:r>
            <a:r>
              <a:rPr lang="en-CA" baseline="0" dirty="0"/>
              <a:t>review marks</a:t>
            </a:r>
          </a:p>
          <a:p>
            <a:endParaRPr lang="en-CA" baseline="0" dirty="0"/>
          </a:p>
          <a:p>
            <a:r>
              <a:rPr lang="en-CA" sz="1200" i="1" kern="1200" dirty="0">
                <a:solidFill>
                  <a:schemeClr val="tx1"/>
                </a:solidFill>
                <a:effectLst/>
                <a:latin typeface="+mn-lt"/>
                <a:ea typeface="+mn-ea"/>
                <a:cs typeface="+mn-cs"/>
              </a:rPr>
              <a:t>Review Marks </a:t>
            </a:r>
            <a:r>
              <a:rPr lang="en-CA" sz="1200" kern="1200" dirty="0">
                <a:solidFill>
                  <a:schemeClr val="tx1"/>
                </a:solidFill>
                <a:effectLst/>
                <a:latin typeface="+mn-lt"/>
                <a:ea typeface="+mn-ea"/>
                <a:cs typeface="+mn-cs"/>
              </a:rPr>
              <a:t>let you or approve, or request changes on, any field of a tax file. There are four different types of </a:t>
            </a:r>
            <a:r>
              <a:rPr lang="en-CA" sz="1200" i="1" kern="1200" dirty="0">
                <a:solidFill>
                  <a:schemeClr val="tx1"/>
                </a:solidFill>
                <a:effectLst/>
                <a:latin typeface="+mn-lt"/>
                <a:ea typeface="+mn-ea"/>
                <a:cs typeface="+mn-cs"/>
              </a:rPr>
              <a:t>Review Marks</a:t>
            </a:r>
            <a:r>
              <a:rPr lang="en-CA" sz="1200" kern="120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Use the </a:t>
            </a:r>
            <a:r>
              <a:rPr lang="en-CA" sz="1200" i="1" kern="1200" dirty="0">
                <a:solidFill>
                  <a:schemeClr val="tx1"/>
                </a:solidFill>
                <a:effectLst/>
                <a:latin typeface="+mn-lt"/>
                <a:ea typeface="+mn-ea"/>
                <a:cs typeface="+mn-cs"/>
              </a:rPr>
              <a:t>Preparer Sign-off </a:t>
            </a:r>
            <a:r>
              <a:rPr lang="en-CA" sz="1200" kern="1200" dirty="0">
                <a:solidFill>
                  <a:schemeClr val="tx1"/>
                </a:solidFill>
                <a:effectLst/>
                <a:latin typeface="+mn-lt"/>
                <a:ea typeface="+mn-ea"/>
                <a:cs typeface="+mn-cs"/>
              </a:rPr>
              <a:t>to confirm the amounts entered on each line of a return, or to approve any errors or issues signaled by the </a:t>
            </a:r>
            <a:r>
              <a:rPr lang="en-CA" sz="1200" i="1" kern="1200" dirty="0">
                <a:solidFill>
                  <a:schemeClr val="tx1"/>
                </a:solidFill>
                <a:effectLst/>
                <a:latin typeface="+mn-lt"/>
                <a:ea typeface="+mn-ea"/>
                <a:cs typeface="+mn-cs"/>
              </a:rPr>
              <a:t>Passive Auditor </a:t>
            </a:r>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The </a:t>
            </a:r>
            <a:r>
              <a:rPr lang="en-CA" sz="1200" i="1" kern="1200" dirty="0">
                <a:solidFill>
                  <a:schemeClr val="tx1"/>
                </a:solidFill>
                <a:effectLst/>
                <a:latin typeface="+mn-lt"/>
                <a:ea typeface="+mn-ea"/>
                <a:cs typeface="+mn-cs"/>
              </a:rPr>
              <a:t>Partner Sign-Off </a:t>
            </a:r>
            <a:r>
              <a:rPr lang="en-CA" sz="1200" kern="1200" dirty="0">
                <a:solidFill>
                  <a:schemeClr val="tx1"/>
                </a:solidFill>
                <a:effectLst/>
                <a:latin typeface="+mn-lt"/>
                <a:ea typeface="+mn-ea"/>
                <a:cs typeface="+mn-cs"/>
              </a:rPr>
              <a:t>is similar to the </a:t>
            </a:r>
            <a:r>
              <a:rPr lang="en-CA" sz="1200" i="1" kern="1200" dirty="0">
                <a:solidFill>
                  <a:schemeClr val="tx1"/>
                </a:solidFill>
                <a:effectLst/>
                <a:latin typeface="+mn-lt"/>
                <a:ea typeface="+mn-ea"/>
                <a:cs typeface="+mn-cs"/>
              </a:rPr>
              <a:t>Prepare Sign-Off, </a:t>
            </a:r>
            <a:r>
              <a:rPr lang="en-CA" sz="1200" kern="1200" dirty="0">
                <a:solidFill>
                  <a:schemeClr val="tx1"/>
                </a:solidFill>
                <a:effectLst/>
                <a:latin typeface="+mn-lt"/>
                <a:ea typeface="+mn-ea"/>
                <a:cs typeface="+mn-cs"/>
              </a:rPr>
              <a:t>except that it’s used in an office where a supervisor or partner approves all returns </a:t>
            </a:r>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Use </a:t>
            </a:r>
            <a:r>
              <a:rPr lang="en-CA" sz="1200" i="1" kern="1200" dirty="0">
                <a:solidFill>
                  <a:schemeClr val="tx1"/>
                </a:solidFill>
                <a:effectLst/>
                <a:latin typeface="+mn-lt"/>
                <a:ea typeface="+mn-ea"/>
                <a:cs typeface="+mn-cs"/>
              </a:rPr>
              <a:t>Correction Required </a:t>
            </a:r>
            <a:r>
              <a:rPr lang="en-CA" sz="1200" kern="1200" dirty="0">
                <a:solidFill>
                  <a:schemeClr val="tx1"/>
                </a:solidFill>
                <a:effectLst/>
                <a:latin typeface="+mn-lt"/>
                <a:ea typeface="+mn-ea"/>
                <a:cs typeface="+mn-cs"/>
              </a:rPr>
              <a:t>to flag a field error on the return </a:t>
            </a:r>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 Use the </a:t>
            </a:r>
            <a:r>
              <a:rPr lang="en-CA" sz="1200" i="1" kern="1200" dirty="0">
                <a:solidFill>
                  <a:schemeClr val="tx1"/>
                </a:solidFill>
                <a:effectLst/>
                <a:latin typeface="+mn-lt"/>
                <a:ea typeface="+mn-ea"/>
                <a:cs typeface="+mn-cs"/>
              </a:rPr>
              <a:t>Question Mark </a:t>
            </a:r>
            <a:r>
              <a:rPr lang="en-CA" sz="1200" kern="1200" dirty="0">
                <a:solidFill>
                  <a:schemeClr val="tx1"/>
                </a:solidFill>
                <a:effectLst/>
                <a:latin typeface="+mn-lt"/>
                <a:ea typeface="+mn-ea"/>
                <a:cs typeface="+mn-cs"/>
              </a:rPr>
              <a:t>to tag a field for further analysis </a:t>
            </a:r>
            <a:endParaRPr lang="en-CA" dirty="0"/>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kern="1200" dirty="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6B19A31D-4D4F-47CE-9926-B2771FC72306}" type="slidenum">
              <a:rPr lang="en-US" smtClean="0"/>
              <a:t>17</a:t>
            </a:fld>
            <a:endParaRPr lang="en-US"/>
          </a:p>
        </p:txBody>
      </p:sp>
    </p:spTree>
    <p:extLst>
      <p:ext uri="{BB962C8B-B14F-4D97-AF65-F5344CB8AC3E}">
        <p14:creationId xmlns:p14="http://schemas.microsoft.com/office/powerpoint/2010/main" val="1023918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5 and discuss</a:t>
            </a:r>
          </a:p>
          <a:p>
            <a:endParaRPr lang="en-US" baseline="0" dirty="0"/>
          </a:p>
          <a:p>
            <a:r>
              <a:rPr lang="en-US" baseline="0" dirty="0"/>
              <a:t>Tab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Every time you create a tax return, ProFile displays a tab for each open form. You’ll see the tabs just above the form you’re currently working in, and you can navigate to any open form by clicking its tab. </a:t>
            </a:r>
            <a:endParaRPr lang="en-US" dirty="0">
              <a:effectLst/>
            </a:endParaRPr>
          </a:p>
          <a:p>
            <a:endParaRPr lang="en-US" baseline="0" dirty="0"/>
          </a:p>
          <a:p>
            <a:r>
              <a:rPr lang="en-US" baseline="0" dirty="0"/>
              <a:t>Menu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s with all software applications, you can use the </a:t>
            </a:r>
            <a:r>
              <a:rPr lang="en-US" sz="1200" i="1" kern="1200" dirty="0">
                <a:solidFill>
                  <a:schemeClr val="tx1"/>
                </a:solidFill>
                <a:effectLst/>
                <a:latin typeface="+mn-lt"/>
                <a:ea typeface="+mn-ea"/>
                <a:cs typeface="+mn-cs"/>
              </a:rPr>
              <a:t>Menu Bar </a:t>
            </a:r>
            <a:r>
              <a:rPr lang="en-US" sz="1200" kern="1200" dirty="0">
                <a:solidFill>
                  <a:schemeClr val="tx1"/>
                </a:solidFill>
                <a:effectLst/>
                <a:latin typeface="+mn-lt"/>
                <a:ea typeface="+mn-ea"/>
                <a:cs typeface="+mn-cs"/>
              </a:rPr>
              <a:t>to navigate in ProFile. With its extensive set of menu commands, you can, for example, create or open tax files, setup preferences, arrange windows, and jump to specific areas of a tax file </a:t>
            </a:r>
            <a:endParaRPr lang="en-US" dirty="0"/>
          </a:p>
          <a:p>
            <a:endParaRPr lang="en-US" baseline="0" dirty="0"/>
          </a:p>
          <a:p>
            <a:r>
              <a:rPr lang="en-US" baseline="0" dirty="0"/>
              <a:t>Toolbars</a:t>
            </a:r>
          </a:p>
          <a:p>
            <a:r>
              <a:rPr lang="en-US" sz="1200" kern="1200" dirty="0">
                <a:solidFill>
                  <a:schemeClr val="tx1"/>
                </a:solidFill>
                <a:effectLst/>
                <a:latin typeface="+mn-lt"/>
                <a:ea typeface="+mn-ea"/>
                <a:cs typeface="+mn-cs"/>
              </a:rPr>
              <a:t>Toolbars are a set of icons that let you quickly and easily move around in ProFile. There are three configurable toolbars that you can enable (or disable) in ProFile. </a:t>
            </a:r>
            <a:endParaRPr lang="en-US" dirty="0"/>
          </a:p>
          <a:p>
            <a:r>
              <a:rPr lang="en-US" sz="1200" kern="1200" dirty="0">
                <a:solidFill>
                  <a:schemeClr val="tx1"/>
                </a:solidFill>
                <a:effectLst/>
                <a:latin typeface="+mn-lt"/>
                <a:ea typeface="+mn-ea"/>
                <a:cs typeface="+mn-cs"/>
              </a:rPr>
              <a:t>You can view the three available toolbars by clicking </a:t>
            </a:r>
            <a:r>
              <a:rPr lang="en-US" sz="1200" i="1" kern="1200" dirty="0">
                <a:solidFill>
                  <a:schemeClr val="tx1"/>
                </a:solidFill>
                <a:effectLst/>
                <a:latin typeface="+mn-lt"/>
                <a:ea typeface="+mn-ea"/>
                <a:cs typeface="+mn-cs"/>
              </a:rPr>
              <a:t>Options&gt;Toolbar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three toolbars are: Audit and review marks, Forms and Shortcuts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604734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7 and discuss </a:t>
            </a:r>
            <a:r>
              <a:rPr lang="en-US" baseline="0" dirty="0" err="1"/>
              <a:t>ProFile’s</a:t>
            </a:r>
            <a:r>
              <a:rPr lang="en-US" baseline="0" dirty="0"/>
              <a:t> display options including</a:t>
            </a:r>
          </a:p>
          <a:p>
            <a:endParaRPr lang="en-US" baseline="0" dirty="0"/>
          </a:p>
          <a:p>
            <a:r>
              <a:rPr lang="en-US" baseline="0" dirty="0"/>
              <a:t>Tiling window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lick the </a:t>
            </a:r>
            <a:r>
              <a:rPr lang="en-US" sz="1200" i="1" kern="1200" dirty="0">
                <a:solidFill>
                  <a:schemeClr val="tx1"/>
                </a:solidFill>
                <a:effectLst/>
                <a:latin typeface="+mn-lt"/>
                <a:ea typeface="+mn-ea"/>
                <a:cs typeface="+mn-cs"/>
              </a:rPr>
              <a:t>Tile </a:t>
            </a:r>
            <a:r>
              <a:rPr lang="en-US" sz="1200" kern="1200" dirty="0">
                <a:solidFill>
                  <a:schemeClr val="tx1"/>
                </a:solidFill>
                <a:effectLst/>
                <a:latin typeface="+mn-lt"/>
                <a:ea typeface="+mn-ea"/>
                <a:cs typeface="+mn-cs"/>
              </a:rPr>
              <a:t>icon to view two</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ax files, tiled horizontally one above the other </a:t>
            </a:r>
            <a:endParaRPr lang="en-US" dirty="0"/>
          </a:p>
          <a:p>
            <a:endParaRPr lang="en-US" baseline="0" dirty="0"/>
          </a:p>
          <a:p>
            <a:endParaRPr lang="en-US" baseline="0" dirty="0"/>
          </a:p>
          <a:p>
            <a:r>
              <a:rPr lang="en-US" baseline="0" dirty="0"/>
              <a:t>Launch window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you use multiple monitors, you can display one file on each screen, Click the </a:t>
            </a:r>
            <a:r>
              <a:rPr lang="en-US" sz="1200" i="1" kern="1200" dirty="0">
                <a:solidFill>
                  <a:schemeClr val="tx1"/>
                </a:solidFill>
                <a:effectLst/>
                <a:latin typeface="+mn-lt"/>
                <a:ea typeface="+mn-ea"/>
                <a:cs typeface="+mn-cs"/>
              </a:rPr>
              <a:t>Launch </a:t>
            </a:r>
            <a:r>
              <a:rPr lang="en-US" sz="1200" kern="1200" dirty="0">
                <a:solidFill>
                  <a:schemeClr val="tx1"/>
                </a:solidFill>
                <a:effectLst/>
                <a:latin typeface="+mn-lt"/>
                <a:ea typeface="+mn-ea"/>
                <a:cs typeface="+mn-cs"/>
              </a:rPr>
              <a:t>icon to create a floating window for the second file, and then then drag it over to your second monitor </a:t>
            </a:r>
          </a:p>
          <a:p>
            <a:endParaRPr lang="en-US" baseline="0" dirty="0"/>
          </a:p>
          <a:p>
            <a:endParaRPr lang="en-US" baseline="0" dirty="0"/>
          </a:p>
          <a:p>
            <a:r>
              <a:rPr lang="en-US" baseline="0" dirty="0"/>
              <a:t>The Window menu</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also use the </a:t>
            </a:r>
            <a:r>
              <a:rPr lang="en-US" sz="1200" i="1" kern="1200" dirty="0">
                <a:solidFill>
                  <a:schemeClr val="tx1"/>
                </a:solidFill>
                <a:effectLst/>
                <a:latin typeface="+mn-lt"/>
                <a:ea typeface="+mn-ea"/>
                <a:cs typeface="+mn-cs"/>
              </a:rPr>
              <a:t>Window</a:t>
            </a:r>
            <a:r>
              <a:rPr lang="en-US" sz="1200" i="1"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enu to cascade, tile or manually arrange your open windows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6454928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8 and mention that </a:t>
            </a:r>
            <a:r>
              <a:rPr lang="en-CA" baseline="0" dirty="0"/>
              <a:t>P</a:t>
            </a:r>
            <a:r>
              <a:rPr lang="en-US" sz="1200" kern="1200" dirty="0" err="1">
                <a:solidFill>
                  <a:schemeClr val="tx1"/>
                </a:solidFill>
                <a:effectLst/>
                <a:latin typeface="+mn-lt"/>
                <a:ea typeface="+mn-ea"/>
                <a:cs typeface="+mn-cs"/>
              </a:rPr>
              <a:t>roFile</a:t>
            </a:r>
            <a:r>
              <a:rPr lang="en-US" sz="1200" kern="1200" dirty="0">
                <a:solidFill>
                  <a:schemeClr val="tx1"/>
                </a:solidFill>
                <a:effectLst/>
                <a:latin typeface="+mn-lt"/>
                <a:ea typeface="+mn-ea"/>
                <a:cs typeface="+mn-cs"/>
              </a:rPr>
              <a:t> comes with a comprehensive auditor that constantly scans a tax file and alerts you to missing or erroneous information.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auditor also makes suggestions for optimizing a tax return, and it reminds you about memos you may have entered, amounts you may have calculated, or review marks that you annotated on a tax return. </a:t>
            </a:r>
            <a:endParaRPr lang="en-US" dirty="0">
              <a:effectLst/>
            </a:endParaRP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34076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8 and mention th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The Passive Auditor’s </a:t>
            </a:r>
            <a:r>
              <a:rPr lang="en-US" sz="1200" kern="1200" dirty="0">
                <a:solidFill>
                  <a:schemeClr val="tx1"/>
                </a:solidFill>
                <a:effectLst/>
                <a:latin typeface="+mn-lt"/>
                <a:ea typeface="+mn-ea"/>
                <a:cs typeface="+mn-cs"/>
              </a:rPr>
              <a:t>constantly scans the return and, when it detects a potential error, highlights that area of the tax file with a yellow background. When you move your cursor over that yellow field, the passive auditor opens a context-sensitive messag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sz="1200" kern="1200" baseline="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US" baseline="0" dirty="0"/>
              <a:t>Example of passive audit messages include</a:t>
            </a:r>
          </a:p>
          <a:p>
            <a:r>
              <a:rPr lang="en-US" sz="1200" kern="1200" dirty="0">
                <a:solidFill>
                  <a:schemeClr val="tx1"/>
                </a:solidFill>
                <a:effectLst/>
                <a:latin typeface="+mn-lt"/>
                <a:ea typeface="+mn-ea"/>
                <a:cs typeface="+mn-cs"/>
              </a:rPr>
              <a:t>Missing data that is necessary for filing </a:t>
            </a:r>
          </a:p>
          <a:p>
            <a:r>
              <a:rPr lang="en-US" sz="1200" kern="1200" dirty="0">
                <a:solidFill>
                  <a:schemeClr val="tx1"/>
                </a:solidFill>
                <a:effectLst/>
                <a:latin typeface="+mn-lt"/>
                <a:ea typeface="+mn-ea"/>
                <a:cs typeface="+mn-cs"/>
              </a:rPr>
              <a:t>Missing EFILE information </a:t>
            </a:r>
          </a:p>
          <a:p>
            <a:r>
              <a:rPr lang="en-US" sz="1200" kern="1200" dirty="0">
                <a:solidFill>
                  <a:schemeClr val="tx1"/>
                </a:solidFill>
                <a:effectLst/>
                <a:latin typeface="+mn-lt"/>
                <a:ea typeface="+mn-ea"/>
                <a:cs typeface="+mn-cs"/>
              </a:rPr>
              <a:t>Amounts on tax slips that fall outside the tolerance range (as in the CPP example above) </a:t>
            </a:r>
          </a:p>
          <a:p>
            <a:r>
              <a:rPr lang="en-US" sz="1200" kern="1200" dirty="0">
                <a:solidFill>
                  <a:schemeClr val="tx1"/>
                </a:solidFill>
                <a:effectLst/>
                <a:latin typeface="+mn-lt"/>
                <a:ea typeface="+mn-ea"/>
                <a:cs typeface="+mn-cs"/>
              </a:rPr>
              <a:t>Opportunities for additional claims (for example, the taxpayer is eligible for a disability amount) </a:t>
            </a:r>
          </a:p>
          <a:p>
            <a:r>
              <a:rPr lang="en-US" sz="1200" kern="1200" dirty="0">
                <a:solidFill>
                  <a:schemeClr val="tx1"/>
                </a:solidFill>
                <a:effectLst/>
                <a:latin typeface="+mn-lt"/>
                <a:ea typeface="+mn-ea"/>
                <a:cs typeface="+mn-cs"/>
              </a:rPr>
              <a:t>Claims that may be more beneficial on a spouse’s return </a:t>
            </a:r>
          </a:p>
          <a:p>
            <a:r>
              <a:rPr lang="en-US" sz="1200" kern="1200" dirty="0">
                <a:solidFill>
                  <a:schemeClr val="tx1"/>
                </a:solidFill>
                <a:effectLst/>
                <a:latin typeface="+mn-lt"/>
                <a:ea typeface="+mn-ea"/>
                <a:cs typeface="+mn-cs"/>
              </a:rPr>
              <a:t>Filing requirements specific to a return (taxpayer subject to minimum tax) </a:t>
            </a:r>
          </a:p>
          <a:p>
            <a:r>
              <a:rPr lang="en-US" sz="1200" kern="1200" dirty="0">
                <a:solidFill>
                  <a:schemeClr val="tx1"/>
                </a:solidFill>
                <a:effectLst/>
                <a:latin typeface="+mn-lt"/>
                <a:ea typeface="+mn-ea"/>
                <a:cs typeface="+mn-cs"/>
              </a:rPr>
              <a:t>Suggestions to reduce a claim (excessive RRSP deduction or unnecessary CCA claim) </a:t>
            </a:r>
          </a:p>
          <a:p>
            <a:r>
              <a:rPr lang="en-US" sz="1200" kern="1200" dirty="0">
                <a:solidFill>
                  <a:schemeClr val="tx1"/>
                </a:solidFill>
                <a:effectLst/>
                <a:latin typeface="+mn-lt"/>
                <a:ea typeface="+mn-ea"/>
                <a:cs typeface="+mn-cs"/>
              </a:rPr>
              <a:t>Planning opportunities </a:t>
            </a:r>
          </a:p>
          <a:p>
            <a:r>
              <a:rPr lang="en-US" sz="1200" kern="1200" dirty="0">
                <a:solidFill>
                  <a:schemeClr val="tx1"/>
                </a:solidFill>
                <a:effectLst/>
                <a:latin typeface="+mn-lt"/>
                <a:ea typeface="+mn-ea"/>
                <a:cs typeface="+mn-cs"/>
              </a:rPr>
              <a:t>Other forms or elections that may be necessary but have not been included in the tax file </a:t>
            </a:r>
          </a:p>
          <a:p>
            <a:pPr marL="171450" marR="0" indent="-171450" algn="l" defTabSz="914400" rtl="0" eaLnBrk="1" fontAlgn="auto" latinLnBrk="0" hangingPunct="1">
              <a:lnSpc>
                <a:spcPct val="100000"/>
              </a:lnSpc>
              <a:spcBef>
                <a:spcPts val="0"/>
              </a:spcBef>
              <a:spcAft>
                <a:spcPts val="0"/>
              </a:spcAft>
              <a:buClrTx/>
              <a:buSzTx/>
              <a:buFontTx/>
              <a:buChar char="-"/>
              <a:tabLst/>
              <a:defRP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3019043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9 and mention that</a:t>
            </a:r>
            <a:r>
              <a:rPr lang="en-US" sz="1200" kern="1200" baseline="0" dirty="0">
                <a:solidFill>
                  <a:schemeClr val="tx1"/>
                </a:solidFill>
                <a:effectLst/>
                <a:latin typeface="+mn-lt"/>
                <a:ea typeface="+mn-ea"/>
                <a:cs typeface="+mn-cs"/>
              </a:rPr>
              <a:t> t</a:t>
            </a:r>
            <a:r>
              <a:rPr lang="en-US" sz="1200" kern="1200" dirty="0">
                <a:solidFill>
                  <a:schemeClr val="tx1"/>
                </a:solidFill>
                <a:effectLst/>
                <a:latin typeface="+mn-lt"/>
                <a:ea typeface="+mn-ea"/>
                <a:cs typeface="+mn-cs"/>
              </a:rPr>
              <a:t>he </a:t>
            </a:r>
            <a:r>
              <a:rPr lang="en-US" sz="1200" i="1" kern="1200" dirty="0">
                <a:solidFill>
                  <a:schemeClr val="tx1"/>
                </a:solidFill>
                <a:effectLst/>
                <a:latin typeface="+mn-lt"/>
                <a:ea typeface="+mn-ea"/>
                <a:cs typeface="+mn-cs"/>
              </a:rPr>
              <a:t>Active Auditor </a:t>
            </a:r>
            <a:r>
              <a:rPr lang="en-US" sz="1200" kern="1200" dirty="0">
                <a:solidFill>
                  <a:schemeClr val="tx1"/>
                </a:solidFill>
                <a:effectLst/>
                <a:latin typeface="+mn-lt"/>
                <a:ea typeface="+mn-ea"/>
                <a:cs typeface="+mn-cs"/>
              </a:rPr>
              <a:t>displays a list of audit messages that apply to the current tax file. These include passive audit messages mentioned above, as well as notices or processing errors, EFILE messages, fields with memos or calculations attached, overridden fields, or fields with review marks attache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o display the </a:t>
            </a:r>
            <a:r>
              <a:rPr lang="en-US" sz="1200" i="1" kern="1200" dirty="0">
                <a:solidFill>
                  <a:schemeClr val="tx1"/>
                </a:solidFill>
                <a:effectLst/>
                <a:latin typeface="+mn-lt"/>
                <a:ea typeface="+mn-ea"/>
                <a:cs typeface="+mn-cs"/>
              </a:rPr>
              <a:t>Active Auditor, </a:t>
            </a:r>
            <a:r>
              <a:rPr lang="en-US" sz="1200" kern="1200" dirty="0">
                <a:solidFill>
                  <a:schemeClr val="tx1"/>
                </a:solidFill>
                <a:effectLst/>
                <a:latin typeface="+mn-lt"/>
                <a:ea typeface="+mn-ea"/>
                <a:cs typeface="+mn-cs"/>
              </a:rPr>
              <a:t>click its toolbar icon</a:t>
            </a:r>
          </a:p>
          <a:p>
            <a:r>
              <a:rPr lang="en-US" sz="1200" kern="1200" dirty="0">
                <a:solidFill>
                  <a:schemeClr val="tx1"/>
                </a:solidFill>
                <a:effectLst/>
                <a:latin typeface="+mn-lt"/>
                <a:ea typeface="+mn-ea"/>
                <a:cs typeface="+mn-cs"/>
              </a:rPr>
              <a:t>Note the tabs in the audit window. These tabs include: </a:t>
            </a:r>
            <a:endParaRPr lang="en-US" dirty="0"/>
          </a:p>
          <a:p>
            <a:r>
              <a:rPr lang="en-US" sz="1200" i="1" kern="1200" dirty="0">
                <a:solidFill>
                  <a:schemeClr val="tx1"/>
                </a:solidFill>
                <a:effectLst/>
                <a:latin typeface="+mn-lt"/>
                <a:ea typeface="+mn-ea"/>
                <a:cs typeface="+mn-cs"/>
              </a:rPr>
              <a:t>Warnings </a:t>
            </a:r>
            <a:r>
              <a:rPr lang="en-US" sz="1200" kern="1200" dirty="0">
                <a:solidFill>
                  <a:schemeClr val="tx1"/>
                </a:solidFill>
                <a:effectLst/>
                <a:latin typeface="+mn-lt"/>
                <a:ea typeface="+mn-ea"/>
                <a:cs typeface="+mn-cs"/>
              </a:rPr>
              <a:t>that indicate potential processing problems, including messages about data may have been </a:t>
            </a:r>
          </a:p>
          <a:p>
            <a:r>
              <a:rPr lang="en-US" sz="1200" kern="1200" dirty="0">
                <a:solidFill>
                  <a:schemeClr val="tx1"/>
                </a:solidFill>
                <a:effectLst/>
                <a:latin typeface="+mn-lt"/>
                <a:ea typeface="+mn-ea"/>
                <a:cs typeface="+mn-cs"/>
              </a:rPr>
              <a:t>overlooked— for example, a slip with no recorded information </a:t>
            </a:r>
          </a:p>
          <a:p>
            <a:r>
              <a:rPr lang="en-US" sz="1200" i="1" kern="1200" dirty="0">
                <a:solidFill>
                  <a:schemeClr val="tx1"/>
                </a:solidFill>
                <a:effectLst/>
                <a:latin typeface="+mn-lt"/>
                <a:ea typeface="+mn-ea"/>
                <a:cs typeface="+mn-cs"/>
              </a:rPr>
              <a:t>Notices </a:t>
            </a:r>
            <a:r>
              <a:rPr lang="en-US" sz="1200" kern="1200" dirty="0">
                <a:solidFill>
                  <a:schemeClr val="tx1"/>
                </a:solidFill>
                <a:effectLst/>
                <a:latin typeface="+mn-lt"/>
                <a:ea typeface="+mn-ea"/>
                <a:cs typeface="+mn-cs"/>
              </a:rPr>
              <a:t>that alert you to important dates or deadlines. Notices also alert you to amounts that fall outside </a:t>
            </a:r>
          </a:p>
          <a:p>
            <a:r>
              <a:rPr lang="en-US" sz="1200" kern="1200" dirty="0">
                <a:solidFill>
                  <a:schemeClr val="tx1"/>
                </a:solidFill>
                <a:effectLst/>
                <a:latin typeface="+mn-lt"/>
                <a:ea typeface="+mn-ea"/>
                <a:cs typeface="+mn-cs"/>
              </a:rPr>
              <a:t>a calculated range </a:t>
            </a:r>
          </a:p>
          <a:p>
            <a:r>
              <a:rPr lang="en-US" sz="1200" i="1" kern="1200" dirty="0">
                <a:solidFill>
                  <a:schemeClr val="tx1"/>
                </a:solidFill>
                <a:effectLst/>
                <a:latin typeface="+mn-lt"/>
                <a:ea typeface="+mn-ea"/>
                <a:cs typeface="+mn-cs"/>
              </a:rPr>
              <a:t>Sign-offs </a:t>
            </a:r>
            <a:r>
              <a:rPr lang="en-US" sz="1200" kern="1200" dirty="0">
                <a:solidFill>
                  <a:schemeClr val="tx1"/>
                </a:solidFill>
                <a:effectLst/>
                <a:latin typeface="+mn-lt"/>
                <a:ea typeface="+mn-ea"/>
                <a:cs typeface="+mn-cs"/>
              </a:rPr>
              <a:t>which display </a:t>
            </a:r>
            <a:r>
              <a:rPr lang="en-US" sz="1200" i="1" kern="1200" dirty="0">
                <a:solidFill>
                  <a:schemeClr val="tx1"/>
                </a:solidFill>
                <a:effectLst/>
                <a:latin typeface="+mn-lt"/>
                <a:ea typeface="+mn-ea"/>
                <a:cs typeface="+mn-cs"/>
              </a:rPr>
              <a:t>Review Marks </a:t>
            </a:r>
            <a:r>
              <a:rPr lang="en-US" sz="1200" kern="1200" dirty="0">
                <a:solidFill>
                  <a:schemeClr val="tx1"/>
                </a:solidFill>
                <a:effectLst/>
                <a:latin typeface="+mn-lt"/>
                <a:ea typeface="+mn-ea"/>
                <a:cs typeface="+mn-cs"/>
              </a:rPr>
              <a:t>that a partner or tax preparer added to the tax return </a:t>
            </a:r>
          </a:p>
          <a:p>
            <a:r>
              <a:rPr lang="en-US" sz="1200" i="1" kern="1200" dirty="0">
                <a:solidFill>
                  <a:schemeClr val="tx1"/>
                </a:solidFill>
                <a:effectLst/>
                <a:latin typeface="+mn-lt"/>
                <a:ea typeface="+mn-ea"/>
                <a:cs typeface="+mn-cs"/>
              </a:rPr>
              <a:t>Issues </a:t>
            </a:r>
            <a:r>
              <a:rPr lang="en-US" sz="1200" kern="1200" dirty="0">
                <a:solidFill>
                  <a:schemeClr val="tx1"/>
                </a:solidFill>
                <a:effectLst/>
                <a:latin typeface="+mn-lt"/>
                <a:ea typeface="+mn-ea"/>
                <a:cs typeface="+mn-cs"/>
              </a:rPr>
              <a:t>for any field that has a correction or question review mark attached to it </a:t>
            </a:r>
          </a:p>
          <a:p>
            <a:r>
              <a:rPr lang="en-US" sz="1200" i="1" kern="1200" dirty="0">
                <a:solidFill>
                  <a:schemeClr val="tx1"/>
                </a:solidFill>
                <a:effectLst/>
                <a:latin typeface="+mn-lt"/>
                <a:ea typeface="+mn-ea"/>
                <a:cs typeface="+mn-cs"/>
              </a:rPr>
              <a:t>Overrides </a:t>
            </a:r>
            <a:r>
              <a:rPr lang="en-US" sz="1200" kern="1200" dirty="0">
                <a:solidFill>
                  <a:schemeClr val="tx1"/>
                </a:solidFill>
                <a:effectLst/>
                <a:latin typeface="+mn-lt"/>
                <a:ea typeface="+mn-ea"/>
                <a:cs typeface="+mn-cs"/>
              </a:rPr>
              <a:t>that alert you to a change that you made to a field’s calculated amount </a:t>
            </a:r>
          </a:p>
          <a:p>
            <a:r>
              <a:rPr lang="en-US" sz="1200" i="1" kern="1200" dirty="0">
                <a:solidFill>
                  <a:schemeClr val="tx1"/>
                </a:solidFill>
                <a:effectLst/>
                <a:latin typeface="+mn-lt"/>
                <a:ea typeface="+mn-ea"/>
                <a:cs typeface="+mn-cs"/>
              </a:rPr>
              <a:t>Memos </a:t>
            </a:r>
            <a:r>
              <a:rPr lang="en-US" sz="1200" kern="1200" dirty="0">
                <a:solidFill>
                  <a:schemeClr val="tx1"/>
                </a:solidFill>
                <a:effectLst/>
                <a:latin typeface="+mn-lt"/>
                <a:ea typeface="+mn-ea"/>
                <a:cs typeface="+mn-cs"/>
              </a:rPr>
              <a:t>to remind you that you attached a note to a field in the tax file </a:t>
            </a:r>
          </a:p>
          <a:p>
            <a:r>
              <a:rPr lang="en-US" sz="1200" i="1" kern="1200" dirty="0">
                <a:solidFill>
                  <a:schemeClr val="tx1"/>
                </a:solidFill>
                <a:effectLst/>
                <a:latin typeface="+mn-lt"/>
                <a:ea typeface="+mn-ea"/>
                <a:cs typeface="+mn-cs"/>
              </a:rPr>
              <a:t>EFILE </a:t>
            </a:r>
            <a:r>
              <a:rPr lang="en-US" sz="1200" kern="1200" dirty="0">
                <a:solidFill>
                  <a:schemeClr val="tx1"/>
                </a:solidFill>
                <a:effectLst/>
                <a:latin typeface="+mn-lt"/>
                <a:ea typeface="+mn-ea"/>
                <a:cs typeface="+mn-cs"/>
              </a:rPr>
              <a:t>warnings to prevent you from EFILING a tax file. In addition, any messages originating from </a:t>
            </a:r>
          </a:p>
          <a:p>
            <a:r>
              <a:rPr lang="en-US" sz="1200" kern="1200" dirty="0">
                <a:solidFill>
                  <a:schemeClr val="tx1"/>
                </a:solidFill>
                <a:effectLst/>
                <a:latin typeface="+mn-lt"/>
                <a:ea typeface="+mn-ea"/>
                <a:cs typeface="+mn-cs"/>
              </a:rPr>
              <a:t>CRA, after an EFILE was processed, will appear here. </a:t>
            </a:r>
          </a:p>
          <a:p>
            <a:r>
              <a:rPr lang="en-US" sz="1200" i="1" kern="1200" dirty="0">
                <a:solidFill>
                  <a:schemeClr val="tx1"/>
                </a:solidFill>
                <a:effectLst/>
                <a:latin typeface="+mn-lt"/>
                <a:ea typeface="+mn-ea"/>
                <a:cs typeface="+mn-cs"/>
              </a:rPr>
              <a:t>Carry forward </a:t>
            </a:r>
            <a:r>
              <a:rPr lang="en-US" sz="1200" kern="1200" dirty="0">
                <a:solidFill>
                  <a:schemeClr val="tx1"/>
                </a:solidFill>
                <a:effectLst/>
                <a:latin typeface="+mn-lt"/>
                <a:ea typeface="+mn-ea"/>
                <a:cs typeface="+mn-cs"/>
              </a:rPr>
              <a:t>that lists all the data brought forward from a prior year’s return </a:t>
            </a:r>
          </a:p>
          <a:p>
            <a:r>
              <a:rPr lang="en-US" sz="1200" i="1" kern="1200" dirty="0">
                <a:solidFill>
                  <a:schemeClr val="tx1"/>
                </a:solidFill>
                <a:effectLst/>
                <a:latin typeface="+mn-lt"/>
                <a:ea typeface="+mn-ea"/>
                <a:cs typeface="+mn-cs"/>
              </a:rPr>
              <a:t>Tapes </a:t>
            </a:r>
            <a:r>
              <a:rPr lang="en-US" sz="1200" kern="1200" dirty="0">
                <a:solidFill>
                  <a:schemeClr val="tx1"/>
                </a:solidFill>
                <a:effectLst/>
                <a:latin typeface="+mn-lt"/>
                <a:ea typeface="+mn-ea"/>
                <a:cs typeface="+mn-cs"/>
              </a:rPr>
              <a:t>that highlight a field wher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calculator was used </a:t>
            </a:r>
          </a:p>
          <a:p>
            <a:r>
              <a:rPr lang="en-US" sz="1200" i="1" kern="1200" dirty="0">
                <a:solidFill>
                  <a:schemeClr val="tx1"/>
                </a:solidFill>
                <a:effectLst/>
                <a:latin typeface="+mn-lt"/>
                <a:ea typeface="+mn-ea"/>
                <a:cs typeface="+mn-cs"/>
              </a:rPr>
              <a:t>Variance </a:t>
            </a:r>
            <a:r>
              <a:rPr lang="en-US" sz="1200" kern="1200" dirty="0">
                <a:solidFill>
                  <a:schemeClr val="tx1"/>
                </a:solidFill>
                <a:effectLst/>
                <a:latin typeface="+mn-lt"/>
                <a:ea typeface="+mn-ea"/>
                <a:cs typeface="+mn-cs"/>
              </a:rPr>
              <a:t>that highlights any changes made after you took a snapshot of the tax return </a:t>
            </a:r>
          </a:p>
          <a:p>
            <a:r>
              <a:rPr lang="en-US" sz="1200" i="1" kern="1200" dirty="0">
                <a:solidFill>
                  <a:schemeClr val="tx1"/>
                </a:solidFill>
                <a:effectLst/>
                <a:latin typeface="+mn-lt"/>
                <a:ea typeface="+mn-ea"/>
                <a:cs typeface="+mn-cs"/>
              </a:rPr>
              <a:t>Data Import </a:t>
            </a:r>
            <a:r>
              <a:rPr lang="en-US" sz="1200" kern="1200" dirty="0">
                <a:solidFill>
                  <a:schemeClr val="tx1"/>
                </a:solidFill>
                <a:effectLst/>
                <a:latin typeface="+mn-lt"/>
                <a:ea typeface="+mn-ea"/>
                <a:cs typeface="+mn-cs"/>
              </a:rPr>
              <a:t>that lists taxpayer data imported using CRA’s Auto-fill My Return </a:t>
            </a:r>
          </a:p>
          <a:p>
            <a:r>
              <a:rPr lang="en-US" sz="1200" i="1" kern="1200" dirty="0">
                <a:solidFill>
                  <a:schemeClr val="tx1"/>
                </a:solidFill>
                <a:effectLst/>
                <a:latin typeface="+mn-lt"/>
                <a:ea typeface="+mn-ea"/>
                <a:cs typeface="+mn-cs"/>
              </a:rPr>
              <a:t>Summary </a:t>
            </a:r>
            <a:r>
              <a:rPr lang="en-US" sz="1200" kern="1200" dirty="0">
                <a:solidFill>
                  <a:schemeClr val="tx1"/>
                </a:solidFill>
                <a:effectLst/>
                <a:latin typeface="+mn-lt"/>
                <a:ea typeface="+mn-ea"/>
                <a:cs typeface="+mn-cs"/>
              </a:rPr>
              <a:t>which consolidates all messages from the other tabs. </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Acting on audit messages </a:t>
            </a:r>
            <a:endParaRPr lang="en-US" dirty="0">
              <a:effectLst/>
            </a:endParaRPr>
          </a:p>
          <a:p>
            <a:pPr lvl="1"/>
            <a:r>
              <a:rPr lang="en-US" sz="1200" kern="1200" dirty="0">
                <a:solidFill>
                  <a:schemeClr val="tx1"/>
                </a:solidFill>
                <a:effectLst/>
                <a:latin typeface="+mn-lt"/>
                <a:ea typeface="+mn-ea"/>
                <a:cs typeface="+mn-cs"/>
              </a:rPr>
              <a:t>To act on an audit message, double click the message. </a:t>
            </a:r>
          </a:p>
          <a:p>
            <a:pPr lvl="1"/>
            <a:r>
              <a:rPr lang="en-US" sz="1200" kern="1200" dirty="0">
                <a:solidFill>
                  <a:schemeClr val="tx1"/>
                </a:solidFill>
                <a:effectLst/>
                <a:latin typeface="+mn-lt"/>
                <a:ea typeface="+mn-ea"/>
                <a:cs typeface="+mn-cs"/>
              </a:rPr>
              <a:t>ProFile will open the applicable form, circle the item and add a yellow background to the field </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effectLst/>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390552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11 and mention </a:t>
            </a:r>
            <a:r>
              <a:rPr lang="en-US" sz="1200" kern="1200" baseline="0" dirty="0">
                <a:solidFill>
                  <a:schemeClr val="tx1"/>
                </a:solidFill>
                <a:effectLst/>
                <a:latin typeface="+mn-lt"/>
                <a:ea typeface="+mn-ea"/>
                <a:cs typeface="+mn-cs"/>
              </a:rPr>
              <a:t>that t</a:t>
            </a:r>
            <a:r>
              <a:rPr lang="en-US" sz="1200" kern="1200" dirty="0">
                <a:solidFill>
                  <a:schemeClr val="tx1"/>
                </a:solidFill>
                <a:effectLst/>
                <a:latin typeface="+mn-lt"/>
                <a:ea typeface="+mn-ea"/>
                <a:cs typeface="+mn-cs"/>
              </a:rPr>
              <a:t>he </a:t>
            </a:r>
            <a:r>
              <a:rPr lang="en-US" sz="1200" i="1" kern="1200" dirty="0">
                <a:solidFill>
                  <a:schemeClr val="tx1"/>
                </a:solidFill>
                <a:effectLst/>
                <a:latin typeface="+mn-lt"/>
                <a:ea typeface="+mn-ea"/>
                <a:cs typeface="+mn-cs"/>
              </a:rPr>
              <a:t>Audit </a:t>
            </a:r>
            <a:r>
              <a:rPr lang="en-US" sz="1200" kern="1200" dirty="0">
                <a:solidFill>
                  <a:schemeClr val="tx1"/>
                </a:solidFill>
                <a:effectLst/>
                <a:latin typeface="+mn-lt"/>
                <a:ea typeface="+mn-ea"/>
                <a:cs typeface="+mn-cs"/>
              </a:rPr>
              <a:t>tab, also found under </a:t>
            </a:r>
            <a:r>
              <a:rPr lang="en-US" sz="1200" i="1" kern="1200" dirty="0">
                <a:solidFill>
                  <a:schemeClr val="tx1"/>
                </a:solidFill>
                <a:effectLst/>
                <a:latin typeface="+mn-lt"/>
                <a:ea typeface="+mn-ea"/>
                <a:cs typeface="+mn-cs"/>
              </a:rPr>
              <a:t>Options&gt;Environment, </a:t>
            </a:r>
            <a:r>
              <a:rPr lang="en-US" sz="1200" kern="1200" dirty="0">
                <a:solidFill>
                  <a:schemeClr val="tx1"/>
                </a:solidFill>
                <a:effectLst/>
                <a:latin typeface="+mn-lt"/>
                <a:ea typeface="+mn-ea"/>
                <a:cs typeface="+mn-cs"/>
              </a:rPr>
              <a:t>lets you choose how you’d like to work with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a:t>
            </a:r>
            <a:r>
              <a:rPr lang="en-US" sz="1200" i="1" kern="1200" dirty="0">
                <a:solidFill>
                  <a:schemeClr val="tx1"/>
                </a:solidFill>
                <a:effectLst/>
                <a:latin typeface="+mn-lt"/>
                <a:ea typeface="+mn-ea"/>
                <a:cs typeface="+mn-cs"/>
              </a:rPr>
              <a:t>Auditor</a:t>
            </a:r>
            <a:r>
              <a:rPr lang="en-US" sz="1200" kern="1200" dirty="0">
                <a:solidFill>
                  <a:schemeClr val="tx1"/>
                </a:solidFill>
                <a:effectLst/>
                <a:latin typeface="+mn-lt"/>
                <a:ea typeface="+mn-ea"/>
                <a:cs typeface="+mn-cs"/>
              </a:rPr>
              <a:t>. From this window, you can: </a:t>
            </a:r>
            <a:endParaRPr lang="en-US" dirty="0"/>
          </a:p>
          <a:p>
            <a:r>
              <a:rPr lang="en-US" sz="1200" kern="1200" dirty="0">
                <a:solidFill>
                  <a:schemeClr val="tx1"/>
                </a:solidFill>
                <a:effectLst/>
                <a:latin typeface="+mn-lt"/>
                <a:ea typeface="+mn-ea"/>
                <a:cs typeface="+mn-cs"/>
              </a:rPr>
              <a:t>Enable or disable features such as the </a:t>
            </a:r>
            <a:r>
              <a:rPr lang="en-US" sz="1200" i="1" kern="1200" dirty="0">
                <a:solidFill>
                  <a:schemeClr val="tx1"/>
                </a:solidFill>
                <a:effectLst/>
                <a:latin typeface="+mn-lt"/>
                <a:ea typeface="+mn-ea"/>
                <a:cs typeface="+mn-cs"/>
              </a:rPr>
              <a:t>Passive Auditor, </a:t>
            </a:r>
            <a:r>
              <a:rPr lang="en-US" sz="1200" kern="1200" dirty="0">
                <a:solidFill>
                  <a:schemeClr val="tx1"/>
                </a:solidFill>
                <a:effectLst/>
                <a:latin typeface="+mn-lt"/>
                <a:ea typeface="+mn-ea"/>
                <a:cs typeface="+mn-cs"/>
              </a:rPr>
              <a:t>review marks and circled fields</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hoose the information to display on the </a:t>
            </a:r>
            <a:r>
              <a:rPr lang="en-US" sz="1200" i="1" kern="1200" dirty="0">
                <a:solidFill>
                  <a:schemeClr val="tx1"/>
                </a:solidFill>
                <a:effectLst/>
                <a:latin typeface="+mn-lt"/>
                <a:ea typeface="+mn-ea"/>
                <a:cs typeface="+mn-cs"/>
              </a:rPr>
              <a:t>Summary Tab </a:t>
            </a:r>
            <a:r>
              <a:rPr lang="en-US" sz="1200" kern="1200" dirty="0">
                <a:solidFill>
                  <a:schemeClr val="tx1"/>
                </a:solidFill>
                <a:effectLst/>
                <a:latin typeface="+mn-lt"/>
                <a:ea typeface="+mn-ea"/>
                <a:cs typeface="+mn-cs"/>
              </a:rPr>
              <a:t>of the </a:t>
            </a:r>
            <a:r>
              <a:rPr lang="en-US" sz="1200" i="1" kern="1200" dirty="0">
                <a:solidFill>
                  <a:schemeClr val="tx1"/>
                </a:solidFill>
                <a:effectLst/>
                <a:latin typeface="+mn-lt"/>
                <a:ea typeface="+mn-ea"/>
                <a:cs typeface="+mn-cs"/>
              </a:rPr>
              <a:t>Active Auditor </a:t>
            </a:r>
            <a:endParaRPr lang="en-US" dirty="0"/>
          </a:p>
          <a:p>
            <a:r>
              <a:rPr lang="en-US" sz="1200" kern="1200" dirty="0">
                <a:solidFill>
                  <a:schemeClr val="tx1"/>
                </a:solidFill>
                <a:effectLst/>
                <a:latin typeface="+mn-lt"/>
                <a:ea typeface="+mn-ea"/>
                <a:cs typeface="+mn-cs"/>
              </a:rPr>
              <a:t>•Determine the audit messages that will prevent ProFile from EFILING a retur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Remove audit messages on partner or preparer sign-off </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111960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is section starts on page 12</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6372411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12 and discuss how,  </a:t>
            </a:r>
            <a:r>
              <a:rPr lang="en-US" sz="1200" kern="1200" baseline="0" dirty="0">
                <a:solidFill>
                  <a:schemeClr val="tx1"/>
                </a:solidFill>
                <a:effectLst/>
                <a:latin typeface="+mn-lt"/>
                <a:ea typeface="+mn-ea"/>
                <a:cs typeface="+mn-cs"/>
              </a:rPr>
              <a:t>i</a:t>
            </a:r>
            <a:r>
              <a:rPr lang="en-US" sz="1200" kern="1200" dirty="0">
                <a:solidFill>
                  <a:schemeClr val="tx1"/>
                </a:solidFill>
                <a:effectLst/>
                <a:latin typeface="+mn-lt"/>
                <a:ea typeface="+mn-ea"/>
                <a:cs typeface="+mn-cs"/>
              </a:rPr>
              <a:t>nvariably, you will start by either creating a new tax return or carrying forward a file from the previous year, and you accomplish either of those tasks by clicking the appropriate icon on the toolba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a:t>
            </a:r>
            <a:r>
              <a:rPr lang="en-US" sz="1200" kern="1200" baseline="0" dirty="0">
                <a:solidFill>
                  <a:schemeClr val="tx1"/>
                </a:solidFill>
                <a:effectLst/>
                <a:latin typeface="+mn-lt"/>
                <a:ea typeface="+mn-ea"/>
                <a:cs typeface="+mn-cs"/>
              </a:rPr>
              <a:t> note that </a:t>
            </a:r>
            <a:r>
              <a:rPr lang="en-US" sz="1200" kern="1200" dirty="0">
                <a:solidFill>
                  <a:schemeClr val="tx1"/>
                </a:solidFill>
                <a:effectLst/>
                <a:latin typeface="+mn-lt"/>
                <a:ea typeface="+mn-ea"/>
                <a:cs typeface="+mn-cs"/>
              </a:rPr>
              <a:t>ProFile opens a tax file at the </a:t>
            </a:r>
            <a:r>
              <a:rPr lang="en-US" sz="1200" i="1" kern="1200" dirty="0">
                <a:solidFill>
                  <a:schemeClr val="tx1"/>
                </a:solidFill>
                <a:effectLst/>
                <a:latin typeface="+mn-lt"/>
                <a:ea typeface="+mn-ea"/>
                <a:cs typeface="+mn-cs"/>
              </a:rPr>
              <a:t>Personal Information </a:t>
            </a:r>
            <a:r>
              <a:rPr lang="en-US" sz="1200" kern="1200" dirty="0">
                <a:solidFill>
                  <a:schemeClr val="tx1"/>
                </a:solidFill>
                <a:effectLst/>
                <a:latin typeface="+mn-lt"/>
                <a:ea typeface="+mn-ea"/>
                <a:cs typeface="+mn-cs"/>
              </a:rPr>
              <a:t>page. This is where you enter the taxpayer’s </a:t>
            </a:r>
          </a:p>
          <a:p>
            <a:r>
              <a:rPr lang="en-US" sz="1200" kern="1200" dirty="0">
                <a:solidFill>
                  <a:schemeClr val="tx1"/>
                </a:solidFill>
                <a:effectLst/>
                <a:latin typeface="+mn-lt"/>
                <a:ea typeface="+mn-ea"/>
                <a:cs typeface="+mn-cs"/>
              </a:rPr>
              <a:t>contact information, as well as residency, marital status and other information </a:t>
            </a:r>
          </a:p>
          <a:p>
            <a:r>
              <a:rPr lang="en-US" sz="1200" kern="1200" dirty="0">
                <a:solidFill>
                  <a:schemeClr val="tx1"/>
                </a:solidFill>
                <a:effectLst/>
                <a:latin typeface="+mn-lt"/>
                <a:ea typeface="+mn-ea"/>
                <a:cs typeface="+mn-cs"/>
              </a:rPr>
              <a:t>ProFile automatically opens other forms and schedules, such as the T1 Jacket. You can tell which forms ProFile opens by glancing at the forms’ representative tab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mention that even though ProFile automatically opens the tax jacket, it’s important to note that you enter data on supporting forms and schedules, and not directly on the jacket itself. </a:t>
            </a:r>
          </a:p>
          <a:p>
            <a:r>
              <a:rPr lang="en-US" sz="1200" kern="1200" dirty="0">
                <a:solidFill>
                  <a:schemeClr val="tx1"/>
                </a:solidFill>
                <a:effectLst/>
                <a:latin typeface="+mn-lt"/>
                <a:ea typeface="+mn-ea"/>
                <a:cs typeface="+mn-cs"/>
              </a:rPr>
              <a:t>For</a:t>
            </a:r>
            <a:r>
              <a:rPr lang="en-US" sz="1200" kern="1200" baseline="0" dirty="0">
                <a:solidFill>
                  <a:schemeClr val="tx1"/>
                </a:solidFill>
                <a:effectLst/>
                <a:latin typeface="+mn-lt"/>
                <a:ea typeface="+mn-ea"/>
                <a:cs typeface="+mn-cs"/>
              </a:rPr>
              <a:t> example, w</a:t>
            </a:r>
            <a:r>
              <a:rPr lang="en-US" sz="1200" kern="1200" dirty="0">
                <a:solidFill>
                  <a:schemeClr val="tx1"/>
                </a:solidFill>
                <a:effectLst/>
                <a:latin typeface="+mn-lt"/>
                <a:ea typeface="+mn-ea"/>
                <a:cs typeface="+mn-cs"/>
              </a:rPr>
              <a:t>hen you click on the </a:t>
            </a:r>
            <a:r>
              <a:rPr lang="en-US" sz="1200" i="1" kern="1200" dirty="0">
                <a:solidFill>
                  <a:schemeClr val="tx1"/>
                </a:solidFill>
                <a:effectLst/>
                <a:latin typeface="+mn-lt"/>
                <a:ea typeface="+mn-ea"/>
                <a:cs typeface="+mn-cs"/>
              </a:rPr>
              <a:t>T4 </a:t>
            </a:r>
            <a:r>
              <a:rPr lang="en-US" sz="1200" kern="1200" dirty="0">
                <a:solidFill>
                  <a:schemeClr val="tx1"/>
                </a:solidFill>
                <a:effectLst/>
                <a:latin typeface="+mn-lt"/>
                <a:ea typeface="+mn-ea"/>
                <a:cs typeface="+mn-cs"/>
              </a:rPr>
              <a:t>tab (from the window above), ProFile will launch the </a:t>
            </a:r>
            <a:r>
              <a:rPr lang="en-US" sz="1200" i="1" kern="1200" dirty="0">
                <a:solidFill>
                  <a:schemeClr val="tx1"/>
                </a:solidFill>
                <a:effectLst/>
                <a:latin typeface="+mn-lt"/>
                <a:ea typeface="+mn-ea"/>
                <a:cs typeface="+mn-cs"/>
              </a:rPr>
              <a:t>T4 Slip </a:t>
            </a:r>
            <a:r>
              <a:rPr lang="en-US" sz="1200" kern="1200" dirty="0">
                <a:solidFill>
                  <a:schemeClr val="tx1"/>
                </a:solidFill>
                <a:effectLst/>
                <a:latin typeface="+mn-lt"/>
                <a:ea typeface="+mn-ea"/>
                <a:cs typeface="+mn-cs"/>
              </a:rPr>
              <a:t>window which, after you enter an employee’s earnings, will look like this </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7174085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20"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9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4.xml"/><Relationship Id="rId13" Type="http://schemas.openxmlformats.org/officeDocument/2006/relationships/image" Target="../media/image12.png"/><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6.xml"/><Relationship Id="rId13" Type="http://schemas.openxmlformats.org/officeDocument/2006/relationships/image" Target="../media/image13.png"/><Relationship Id="rId3" Type="http://schemas.openxmlformats.org/officeDocument/2006/relationships/diagramData" Target="../diagrams/data15.xml"/><Relationship Id="rId7" Type="http://schemas.microsoft.com/office/2007/relationships/diagramDrawing" Target="../diagrams/drawing15.xml"/><Relationship Id="rId12" Type="http://schemas.microsoft.com/office/2007/relationships/diagramDrawing" Target="../diagrams/drawing16.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15.xml"/><Relationship Id="rId11" Type="http://schemas.openxmlformats.org/officeDocument/2006/relationships/diagramColors" Target="../diagrams/colors16.xml"/><Relationship Id="rId5" Type="http://schemas.openxmlformats.org/officeDocument/2006/relationships/diagramQuickStyle" Target="../diagrams/quickStyle15.xml"/><Relationship Id="rId10" Type="http://schemas.openxmlformats.org/officeDocument/2006/relationships/diagramQuickStyle" Target="../diagrams/quickStyle16.xml"/><Relationship Id="rId4" Type="http://schemas.openxmlformats.org/officeDocument/2006/relationships/diagramLayout" Target="../diagrams/layout15.xml"/><Relationship Id="rId9" Type="http://schemas.openxmlformats.org/officeDocument/2006/relationships/diagramLayout" Target="../diagrams/layout16.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8.xml"/><Relationship Id="rId13" Type="http://schemas.openxmlformats.org/officeDocument/2006/relationships/image" Target="../media/image14.png"/><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 Id="rId1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6.png"/><Relationship Id="rId3" Type="http://schemas.openxmlformats.org/officeDocument/2006/relationships/diagramData" Target="../diagrams/data19.xml"/><Relationship Id="rId7" Type="http://schemas.microsoft.com/office/2007/relationships/diagramDrawing" Target="../diagrams/drawing19.xml"/><Relationship Id="rId12" Type="http://schemas.microsoft.com/office/2007/relationships/diagramDrawing" Target="../diagrams/drawing20.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0" Type="http://schemas.openxmlformats.org/officeDocument/2006/relationships/diagramQuickStyle" Target="../diagrams/quickStyle20.xml"/><Relationship Id="rId4" Type="http://schemas.openxmlformats.org/officeDocument/2006/relationships/diagramLayout" Target="../diagrams/layout19.xml"/><Relationship Id="rId9" Type="http://schemas.openxmlformats.org/officeDocument/2006/relationships/diagramLayout" Target="../diagrams/layout20.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16.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image" Target="../media/image18.png"/><Relationship Id="rId7" Type="http://schemas.openxmlformats.org/officeDocument/2006/relationships/diagramColors" Target="../diagrams/colors22.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diagramQuickStyle" Target="../diagrams/quickStyle22.xml"/><Relationship Id="rId5" Type="http://schemas.openxmlformats.org/officeDocument/2006/relationships/diagramLayout" Target="../diagrams/layout22.xml"/><Relationship Id="rId4" Type="http://schemas.openxmlformats.org/officeDocument/2006/relationships/diagramData" Target="../diagrams/data2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7.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8.png"/><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9.png"/><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image" Target="../media/image9.png"/><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8.xml.rels><?xml version="1.0" encoding="UTF-8" standalone="yes"?>
<Relationships xmlns="http://schemas.openxmlformats.org/package/2006/relationships"><Relationship Id="rId8" Type="http://schemas.microsoft.com/office/2007/relationships/diagramDrawing" Target="../diagrams/drawing9.xml"/><Relationship Id="rId13" Type="http://schemas.microsoft.com/office/2007/relationships/diagramDrawing" Target="../diagrams/drawing10.xml"/><Relationship Id="rId3" Type="http://schemas.openxmlformats.org/officeDocument/2006/relationships/image" Target="../media/image10.png"/><Relationship Id="rId7" Type="http://schemas.openxmlformats.org/officeDocument/2006/relationships/diagramColors" Target="../diagrams/colors9.xml"/><Relationship Id="rId12" Type="http://schemas.openxmlformats.org/officeDocument/2006/relationships/diagramColors" Target="../diagrams/colors10.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QuickStyle" Target="../diagrams/quickStyle9.xml"/><Relationship Id="rId11" Type="http://schemas.openxmlformats.org/officeDocument/2006/relationships/diagramQuickStyle" Target="../diagrams/quickStyle10.xml"/><Relationship Id="rId5" Type="http://schemas.openxmlformats.org/officeDocument/2006/relationships/diagramLayout" Target="../diagrams/layout9.xml"/><Relationship Id="rId10" Type="http://schemas.openxmlformats.org/officeDocument/2006/relationships/diagramLayout" Target="../diagrams/layout10.xml"/><Relationship Id="rId4" Type="http://schemas.openxmlformats.org/officeDocument/2006/relationships/diagramData" Target="../diagrams/data9.xml"/><Relationship Id="rId9" Type="http://schemas.openxmlformats.org/officeDocument/2006/relationships/diagramData" Target="../diagrams/data10.xml"/></Relationships>
</file>

<file path=ppt/slides/_rels/slide9.xml.rels><?xml version="1.0" encoding="UTF-8" standalone="yes"?>
<Relationships xmlns="http://schemas.openxmlformats.org/package/2006/relationships"><Relationship Id="rId8" Type="http://schemas.microsoft.com/office/2007/relationships/diagramDrawing" Target="../diagrams/drawing11.xml"/><Relationship Id="rId13" Type="http://schemas.microsoft.com/office/2007/relationships/diagramDrawing" Target="../diagrams/drawing12.xml"/><Relationship Id="rId3" Type="http://schemas.openxmlformats.org/officeDocument/2006/relationships/image" Target="../media/image11.png"/><Relationship Id="rId7" Type="http://schemas.openxmlformats.org/officeDocument/2006/relationships/diagramColors" Target="../diagrams/colors11.xml"/><Relationship Id="rId12" Type="http://schemas.openxmlformats.org/officeDocument/2006/relationships/diagramColors" Target="../diagrams/colors12.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11.xml"/><Relationship Id="rId11" Type="http://schemas.openxmlformats.org/officeDocument/2006/relationships/diagramQuickStyle" Target="../diagrams/quickStyle12.xml"/><Relationship Id="rId5" Type="http://schemas.openxmlformats.org/officeDocument/2006/relationships/diagramLayout" Target="../diagrams/layout11.xml"/><Relationship Id="rId10" Type="http://schemas.openxmlformats.org/officeDocument/2006/relationships/diagramLayout" Target="../diagrams/layout12.xml"/><Relationship Id="rId4" Type="http://schemas.openxmlformats.org/officeDocument/2006/relationships/diagramData" Target="../diagrams/data11.xml"/><Relationship Id="rId9" Type="http://schemas.openxmlformats.org/officeDocument/2006/relationships/diagramData" Target="../diagrams/data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CA" dirty="0"/>
              <a:t>putting it all together</a:t>
            </a:r>
          </a:p>
        </p:txBody>
      </p:sp>
    </p:spTree>
    <p:extLst>
      <p:ext uri="{BB962C8B-B14F-4D97-AF65-F5344CB8AC3E}">
        <p14:creationId xmlns:p14="http://schemas.microsoft.com/office/powerpoint/2010/main" val="1496900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61722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a:t>getting </a:t>
            </a:r>
            <a:r>
              <a:rPr lang="en-CA" dirty="0"/>
              <a:t>started</a:t>
            </a:r>
          </a:p>
        </p:txBody>
      </p:sp>
      <p:graphicFrame>
        <p:nvGraphicFramePr>
          <p:cNvPr id="6" name="Content Placeholder 2">
            <a:extLst>
              <a:ext uri="{FF2B5EF4-FFF2-40B4-BE49-F238E27FC236}">
                <a16:creationId xmlns:a16="http://schemas.microsoft.com/office/drawing/2014/main" id="{8769CC36-2F97-4FFD-9DF4-0BD544C82A28}"/>
              </a:ext>
            </a:extLst>
          </p:cNvPr>
          <p:cNvGraphicFramePr>
            <a:graphicFrameLocks/>
          </p:cNvGraphicFramePr>
          <p:nvPr>
            <p:extLst>
              <p:ext uri="{D42A27DB-BD31-4B8C-83A1-F6EECF244321}">
                <p14:modId xmlns:p14="http://schemas.microsoft.com/office/powerpoint/2010/main" val="1411242673"/>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488339823"/>
              </p:ext>
            </p:extLst>
          </p:nvPr>
        </p:nvGraphicFramePr>
        <p:xfrm>
          <a:off x="1598612" y="1905000"/>
          <a:ext cx="4343400" cy="30479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3C3007B1-5CC4-E442-A590-01FFB3D38CD6}"/>
              </a:ext>
            </a:extLst>
          </p:cNvPr>
          <p:cNvPicPr/>
          <p:nvPr/>
        </p:nvPicPr>
        <p:blipFill>
          <a:blip r:embed="rId13"/>
          <a:stretch>
            <a:fillRect/>
          </a:stretch>
        </p:blipFill>
        <p:spPr>
          <a:xfrm>
            <a:off x="6399212" y="2286000"/>
            <a:ext cx="5554662" cy="1870075"/>
          </a:xfrm>
          <a:prstGeom prst="rect">
            <a:avLst/>
          </a:prstGeom>
        </p:spPr>
      </p:pic>
    </p:spTree>
    <p:extLst>
      <p:ext uri="{BB962C8B-B14F-4D97-AF65-F5344CB8AC3E}">
        <p14:creationId xmlns:p14="http://schemas.microsoft.com/office/powerpoint/2010/main" val="610287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534988" y="533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solidFill>
                  <a:schemeClr val="tx1"/>
                </a:solidFill>
              </a:rPr>
              <a:t>data entry</a:t>
            </a:r>
          </a:p>
        </p:txBody>
      </p:sp>
      <p:graphicFrame>
        <p:nvGraphicFramePr>
          <p:cNvPr id="6" name="Content Placeholder 2">
            <a:extLst>
              <a:ext uri="{FF2B5EF4-FFF2-40B4-BE49-F238E27FC236}">
                <a16:creationId xmlns:a16="http://schemas.microsoft.com/office/drawing/2014/main" id="{8769CC36-2F97-4FFD-9DF4-0BD544C82A28}"/>
              </a:ext>
            </a:extLst>
          </p:cNvPr>
          <p:cNvGraphicFramePr>
            <a:graphicFrameLocks/>
          </p:cNvGraphicFramePr>
          <p:nvPr>
            <p:extLst>
              <p:ext uri="{D42A27DB-BD31-4B8C-83A1-F6EECF244321}">
                <p14:modId xmlns:p14="http://schemas.microsoft.com/office/powerpoint/2010/main" val="2717038999"/>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3422609592"/>
              </p:ext>
            </p:extLst>
          </p:nvPr>
        </p:nvGraphicFramePr>
        <p:xfrm>
          <a:off x="1370012" y="2169439"/>
          <a:ext cx="4343400" cy="30479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 name="Picture 2">
            <a:extLst>
              <a:ext uri="{FF2B5EF4-FFF2-40B4-BE49-F238E27FC236}">
                <a16:creationId xmlns:a16="http://schemas.microsoft.com/office/drawing/2014/main" id="{EF7A47BD-AB99-6A48-BD79-28AE25CBE7B5}"/>
              </a:ext>
            </a:extLst>
          </p:cNvPr>
          <p:cNvPicPr>
            <a:picLocks noChangeAspect="1"/>
          </p:cNvPicPr>
          <p:nvPr/>
        </p:nvPicPr>
        <p:blipFill>
          <a:blip r:embed="rId13"/>
          <a:stretch>
            <a:fillRect/>
          </a:stretch>
        </p:blipFill>
        <p:spPr>
          <a:xfrm>
            <a:off x="6118224" y="2167160"/>
            <a:ext cx="5742097" cy="2926797"/>
          </a:xfrm>
          <a:prstGeom prst="rect">
            <a:avLst/>
          </a:prstGeom>
        </p:spPr>
      </p:pic>
    </p:spTree>
    <p:extLst>
      <p:ext uri="{BB962C8B-B14F-4D97-AF65-F5344CB8AC3E}">
        <p14:creationId xmlns:p14="http://schemas.microsoft.com/office/powerpoint/2010/main" val="1822458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588"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data entry</a:t>
            </a:r>
          </a:p>
        </p:txBody>
      </p:sp>
      <p:graphicFrame>
        <p:nvGraphicFramePr>
          <p:cNvPr id="6" name="Content Placeholder 2">
            <a:extLst>
              <a:ext uri="{FF2B5EF4-FFF2-40B4-BE49-F238E27FC236}">
                <a16:creationId xmlns:a16="http://schemas.microsoft.com/office/drawing/2014/main" id="{8769CC36-2F97-4FFD-9DF4-0BD544C82A28}"/>
              </a:ext>
            </a:extLst>
          </p:cNvPr>
          <p:cNvGraphicFramePr>
            <a:graphicFrameLocks/>
          </p:cNvGraphicFramePr>
          <p:nvPr>
            <p:extLst>
              <p:ext uri="{D42A27DB-BD31-4B8C-83A1-F6EECF244321}">
                <p14:modId xmlns:p14="http://schemas.microsoft.com/office/powerpoint/2010/main" val="101284106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3305669011"/>
              </p:ext>
            </p:extLst>
          </p:nvPr>
        </p:nvGraphicFramePr>
        <p:xfrm>
          <a:off x="1471612" y="2095653"/>
          <a:ext cx="4343400" cy="30479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7BA4276B-2D63-B048-B25C-FC018891F903}"/>
              </a:ext>
            </a:extLst>
          </p:cNvPr>
          <p:cNvPicPr/>
          <p:nvPr/>
        </p:nvPicPr>
        <p:blipFill>
          <a:blip r:embed="rId13"/>
          <a:stretch>
            <a:fillRect/>
          </a:stretch>
        </p:blipFill>
        <p:spPr>
          <a:xfrm>
            <a:off x="7584439" y="3523565"/>
            <a:ext cx="2980374" cy="2499907"/>
          </a:xfrm>
          <a:prstGeom prst="rect">
            <a:avLst/>
          </a:prstGeom>
        </p:spPr>
      </p:pic>
      <p:pic>
        <p:nvPicPr>
          <p:cNvPr id="9" name="Picture 8">
            <a:extLst>
              <a:ext uri="{FF2B5EF4-FFF2-40B4-BE49-F238E27FC236}">
                <a16:creationId xmlns:a16="http://schemas.microsoft.com/office/drawing/2014/main" id="{81A5917A-6585-5C48-9812-FD6DFDF58824}"/>
              </a:ext>
            </a:extLst>
          </p:cNvPr>
          <p:cNvPicPr/>
          <p:nvPr/>
        </p:nvPicPr>
        <p:blipFill>
          <a:blip r:embed="rId14"/>
          <a:stretch>
            <a:fillRect/>
          </a:stretch>
        </p:blipFill>
        <p:spPr>
          <a:xfrm>
            <a:off x="6932612" y="1143000"/>
            <a:ext cx="2743200" cy="2590800"/>
          </a:xfrm>
          <a:prstGeom prst="rect">
            <a:avLst/>
          </a:prstGeom>
        </p:spPr>
      </p:pic>
    </p:spTree>
    <p:extLst>
      <p:ext uri="{BB962C8B-B14F-4D97-AF65-F5344CB8AC3E}">
        <p14:creationId xmlns:p14="http://schemas.microsoft.com/office/powerpoint/2010/main" val="436439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6176456"/>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orm explorer</a:t>
            </a:r>
          </a:p>
        </p:txBody>
      </p:sp>
      <p:graphicFrame>
        <p:nvGraphicFramePr>
          <p:cNvPr id="6" name="Content Placeholder 2">
            <a:extLst>
              <a:ext uri="{FF2B5EF4-FFF2-40B4-BE49-F238E27FC236}">
                <a16:creationId xmlns:a16="http://schemas.microsoft.com/office/drawing/2014/main" id="{3755F4B3-5E22-4210-8907-438F9264EB52}"/>
              </a:ext>
            </a:extLst>
          </p:cNvPr>
          <p:cNvGraphicFramePr>
            <a:graphicFrameLocks/>
          </p:cNvGraphicFramePr>
          <p:nvPr>
            <p:extLst>
              <p:ext uri="{D42A27DB-BD31-4B8C-83A1-F6EECF244321}">
                <p14:modId xmlns:p14="http://schemas.microsoft.com/office/powerpoint/2010/main" val="4218721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3">
            <a:extLst>
              <a:ext uri="{FF2B5EF4-FFF2-40B4-BE49-F238E27FC236}">
                <a16:creationId xmlns:a16="http://schemas.microsoft.com/office/drawing/2014/main" id="{E9DA85EA-C265-497C-BD39-6F8DD85741A8}"/>
              </a:ext>
            </a:extLst>
          </p:cNvPr>
          <p:cNvGraphicFramePr>
            <a:graphicFrameLocks/>
          </p:cNvGraphicFramePr>
          <p:nvPr>
            <p:extLst>
              <p:ext uri="{D42A27DB-BD31-4B8C-83A1-F6EECF244321}">
                <p14:modId xmlns:p14="http://schemas.microsoft.com/office/powerpoint/2010/main" val="9542536"/>
              </p:ext>
            </p:extLst>
          </p:nvPr>
        </p:nvGraphicFramePr>
        <p:xfrm>
          <a:off x="8304212" y="1686889"/>
          <a:ext cx="2819400" cy="331154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 name="Picture 1">
            <a:extLst>
              <a:ext uri="{FF2B5EF4-FFF2-40B4-BE49-F238E27FC236}">
                <a16:creationId xmlns:a16="http://schemas.microsoft.com/office/drawing/2014/main" id="{955BDA70-F1B4-4178-BAE1-71581DED3E9A}"/>
              </a:ext>
            </a:extLst>
          </p:cNvPr>
          <p:cNvPicPr>
            <a:picLocks noChangeAspect="1"/>
          </p:cNvPicPr>
          <p:nvPr/>
        </p:nvPicPr>
        <p:blipFill>
          <a:blip r:embed="rId13"/>
          <a:stretch>
            <a:fillRect/>
          </a:stretch>
        </p:blipFill>
        <p:spPr>
          <a:xfrm>
            <a:off x="1751012" y="1572377"/>
            <a:ext cx="6170604" cy="3543121"/>
          </a:xfrm>
          <a:prstGeom prst="rect">
            <a:avLst/>
          </a:prstGeom>
        </p:spPr>
      </p:pic>
    </p:spTree>
    <p:extLst>
      <p:ext uri="{BB962C8B-B14F-4D97-AF65-F5344CB8AC3E}">
        <p14:creationId xmlns:p14="http://schemas.microsoft.com/office/powerpoint/2010/main" val="1511482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3"/>
          <p:cNvGraphicFramePr>
            <a:graphicFrameLocks/>
          </p:cNvGraphicFramePr>
          <p:nvPr>
            <p:extLst>
              <p:ext uri="{D42A27DB-BD31-4B8C-83A1-F6EECF244321}">
                <p14:modId xmlns:p14="http://schemas.microsoft.com/office/powerpoint/2010/main" val="602544780"/>
              </p:ext>
            </p:extLst>
          </p:nvPr>
        </p:nvGraphicFramePr>
        <p:xfrm>
          <a:off x="257209" y="2209800"/>
          <a:ext cx="11674406" cy="112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6" name="Group 5">
            <a:extLst>
              <a:ext uri="{FF2B5EF4-FFF2-40B4-BE49-F238E27FC236}">
                <a16:creationId xmlns:a16="http://schemas.microsoft.com/office/drawing/2014/main" id="{6FEBB532-B335-41BC-BCE3-3B4E6EE2E4DE}"/>
              </a:ext>
            </a:extLst>
          </p:cNvPr>
          <p:cNvGrpSpPr/>
          <p:nvPr/>
        </p:nvGrpSpPr>
        <p:grpSpPr>
          <a:xfrm>
            <a:off x="395622" y="5256780"/>
            <a:ext cx="1342358" cy="1342358"/>
            <a:chOff x="240342" y="390"/>
            <a:chExt cx="1342358" cy="1342358"/>
          </a:xfrm>
          <a:scene3d>
            <a:camera prst="orthographicFront"/>
            <a:lightRig rig="flat" dir="t"/>
          </a:scene3d>
        </p:grpSpPr>
        <p:sp>
          <p:nvSpPr>
            <p:cNvPr id="7" name="Oval 6">
              <a:extLst>
                <a:ext uri="{FF2B5EF4-FFF2-40B4-BE49-F238E27FC236}">
                  <a16:creationId xmlns:a16="http://schemas.microsoft.com/office/drawing/2014/main" id="{24F2444F-68E3-4A40-941E-3597AD2698A8}"/>
                </a:ext>
              </a:extLst>
            </p:cNvPr>
            <p:cNvSpPr/>
            <p:nvPr/>
          </p:nvSpPr>
          <p:spPr>
            <a:xfrm>
              <a:off x="240342" y="390"/>
              <a:ext cx="1342358" cy="1342358"/>
            </a:xfrm>
            <a:prstGeom prst="ellipse">
              <a:avLst/>
            </a:prstGeom>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 name="Oval 4">
              <a:extLst>
                <a:ext uri="{FF2B5EF4-FFF2-40B4-BE49-F238E27FC236}">
                  <a16:creationId xmlns:a16="http://schemas.microsoft.com/office/drawing/2014/main" id="{1D06D2F2-F675-4326-96BE-95098985CE90}"/>
                </a:ext>
              </a:extLst>
            </p:cNvPr>
            <p:cNvSpPr txBox="1"/>
            <p:nvPr/>
          </p:nvSpPr>
          <p:spPr>
            <a:xfrm>
              <a:off x="436926" y="196974"/>
              <a:ext cx="949190" cy="949190"/>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page 18</a:t>
              </a:r>
            </a:p>
          </p:txBody>
        </p:sp>
      </p:grpSp>
      <p:pic>
        <p:nvPicPr>
          <p:cNvPr id="2" name="Picture 1">
            <a:extLst>
              <a:ext uri="{FF2B5EF4-FFF2-40B4-BE49-F238E27FC236}">
                <a16:creationId xmlns:a16="http://schemas.microsoft.com/office/drawing/2014/main" id="{90F627FB-F982-414A-814F-5D3F7A60EEFE}"/>
              </a:ext>
            </a:extLst>
          </p:cNvPr>
          <p:cNvPicPr>
            <a:picLocks noChangeAspect="1"/>
          </p:cNvPicPr>
          <p:nvPr/>
        </p:nvPicPr>
        <p:blipFill>
          <a:blip r:embed="rId8"/>
          <a:stretch>
            <a:fillRect/>
          </a:stretch>
        </p:blipFill>
        <p:spPr>
          <a:xfrm>
            <a:off x="2284412" y="872267"/>
            <a:ext cx="8147050" cy="5113466"/>
          </a:xfrm>
          <a:prstGeom prst="rect">
            <a:avLst/>
          </a:prstGeom>
        </p:spPr>
      </p:pic>
    </p:spTree>
    <p:extLst>
      <p:ext uri="{BB962C8B-B14F-4D97-AF65-F5344CB8AC3E}">
        <p14:creationId xmlns:p14="http://schemas.microsoft.com/office/powerpoint/2010/main" val="11672879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FEBB532-B335-41BC-BCE3-3B4E6EE2E4DE}"/>
              </a:ext>
            </a:extLst>
          </p:cNvPr>
          <p:cNvGrpSpPr/>
          <p:nvPr/>
        </p:nvGrpSpPr>
        <p:grpSpPr>
          <a:xfrm>
            <a:off x="395622" y="5256780"/>
            <a:ext cx="1342358" cy="1342358"/>
            <a:chOff x="240342" y="390"/>
            <a:chExt cx="1342358" cy="1342358"/>
          </a:xfrm>
          <a:scene3d>
            <a:camera prst="orthographicFront"/>
            <a:lightRig rig="flat" dir="t"/>
          </a:scene3d>
        </p:grpSpPr>
        <p:sp>
          <p:nvSpPr>
            <p:cNvPr id="7" name="Oval 6">
              <a:extLst>
                <a:ext uri="{FF2B5EF4-FFF2-40B4-BE49-F238E27FC236}">
                  <a16:creationId xmlns:a16="http://schemas.microsoft.com/office/drawing/2014/main" id="{24F2444F-68E3-4A40-941E-3597AD2698A8}"/>
                </a:ext>
              </a:extLst>
            </p:cNvPr>
            <p:cNvSpPr/>
            <p:nvPr/>
          </p:nvSpPr>
          <p:spPr>
            <a:xfrm>
              <a:off x="240342" y="390"/>
              <a:ext cx="1342358" cy="1342358"/>
            </a:xfrm>
            <a:prstGeom prst="ellipse">
              <a:avLst/>
            </a:prstGeom>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 name="Oval 4">
              <a:extLst>
                <a:ext uri="{FF2B5EF4-FFF2-40B4-BE49-F238E27FC236}">
                  <a16:creationId xmlns:a16="http://schemas.microsoft.com/office/drawing/2014/main" id="{1D06D2F2-F675-4326-96BE-95098985CE90}"/>
                </a:ext>
              </a:extLst>
            </p:cNvPr>
            <p:cNvSpPr txBox="1"/>
            <p:nvPr/>
          </p:nvSpPr>
          <p:spPr>
            <a:xfrm>
              <a:off x="436926" y="196974"/>
              <a:ext cx="949190" cy="949190"/>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page 20</a:t>
              </a:r>
            </a:p>
          </p:txBody>
        </p:sp>
      </p:grpSp>
      <p:pic>
        <p:nvPicPr>
          <p:cNvPr id="11" name="Picture 10">
            <a:extLst>
              <a:ext uri="{FF2B5EF4-FFF2-40B4-BE49-F238E27FC236}">
                <a16:creationId xmlns:a16="http://schemas.microsoft.com/office/drawing/2014/main" id="{A11804A0-C32A-F848-8FDB-6ADF8B52ECEE}"/>
              </a:ext>
            </a:extLst>
          </p:cNvPr>
          <p:cNvPicPr>
            <a:picLocks noChangeAspect="1"/>
          </p:cNvPicPr>
          <p:nvPr/>
        </p:nvPicPr>
        <p:blipFill>
          <a:blip r:embed="rId3"/>
          <a:stretch>
            <a:fillRect/>
          </a:stretch>
        </p:blipFill>
        <p:spPr>
          <a:xfrm>
            <a:off x="4722812" y="1251690"/>
            <a:ext cx="6400272" cy="4920510"/>
          </a:xfrm>
          <a:prstGeom prst="rect">
            <a:avLst/>
          </a:prstGeom>
        </p:spPr>
      </p:pic>
      <p:graphicFrame>
        <p:nvGraphicFramePr>
          <p:cNvPr id="12" name="Content Placeholder 3">
            <a:extLst>
              <a:ext uri="{FF2B5EF4-FFF2-40B4-BE49-F238E27FC236}">
                <a16:creationId xmlns:a16="http://schemas.microsoft.com/office/drawing/2014/main" id="{6BFF04FF-13F7-0243-97AB-67D0C6EB68DB}"/>
              </a:ext>
            </a:extLst>
          </p:cNvPr>
          <p:cNvGraphicFramePr>
            <a:graphicFrameLocks/>
          </p:cNvGraphicFramePr>
          <p:nvPr>
            <p:extLst>
              <p:ext uri="{D42A27DB-BD31-4B8C-83A1-F6EECF244321}">
                <p14:modId xmlns:p14="http://schemas.microsoft.com/office/powerpoint/2010/main" val="814011014"/>
              </p:ext>
            </p:extLst>
          </p:nvPr>
        </p:nvGraphicFramePr>
        <p:xfrm>
          <a:off x="1541396" y="1945236"/>
          <a:ext cx="2819400" cy="33115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203086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763588" y="30631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solidFill>
                  <a:schemeClr val="tx1"/>
                </a:solidFill>
              </a:rPr>
              <a:t>review marks</a:t>
            </a:r>
          </a:p>
        </p:txBody>
      </p:sp>
      <p:grpSp>
        <p:nvGrpSpPr>
          <p:cNvPr id="6" name="Group 5">
            <a:extLst>
              <a:ext uri="{FF2B5EF4-FFF2-40B4-BE49-F238E27FC236}">
                <a16:creationId xmlns:a16="http://schemas.microsoft.com/office/drawing/2014/main" id="{6FEBB532-B335-41BC-BCE3-3B4E6EE2E4DE}"/>
              </a:ext>
            </a:extLst>
          </p:cNvPr>
          <p:cNvGrpSpPr/>
          <p:nvPr/>
        </p:nvGrpSpPr>
        <p:grpSpPr>
          <a:xfrm>
            <a:off x="395622" y="5256780"/>
            <a:ext cx="1342358" cy="1342358"/>
            <a:chOff x="240342" y="390"/>
            <a:chExt cx="1342358" cy="1342358"/>
          </a:xfrm>
          <a:scene3d>
            <a:camera prst="orthographicFront"/>
            <a:lightRig rig="flat" dir="t"/>
          </a:scene3d>
        </p:grpSpPr>
        <p:sp>
          <p:nvSpPr>
            <p:cNvPr id="7" name="Oval 6">
              <a:extLst>
                <a:ext uri="{FF2B5EF4-FFF2-40B4-BE49-F238E27FC236}">
                  <a16:creationId xmlns:a16="http://schemas.microsoft.com/office/drawing/2014/main" id="{24F2444F-68E3-4A40-941E-3597AD2698A8}"/>
                </a:ext>
              </a:extLst>
            </p:cNvPr>
            <p:cNvSpPr/>
            <p:nvPr/>
          </p:nvSpPr>
          <p:spPr>
            <a:xfrm>
              <a:off x="240342" y="390"/>
              <a:ext cx="1342358" cy="1342358"/>
            </a:xfrm>
            <a:prstGeom prst="ellipse">
              <a:avLst/>
            </a:prstGeom>
            <a:sp3d prstMaterial="dkEdge">
              <a:bevelT w="8200" h="38100"/>
            </a:sp3d>
          </p:spPr>
          <p:style>
            <a:lnRef idx="0">
              <a:schemeClr val="lt1">
                <a:hueOff val="0"/>
                <a:satOff val="0"/>
                <a:lumOff val="0"/>
                <a:alphaOff val="0"/>
              </a:schemeClr>
            </a:lnRef>
            <a:fillRef idx="2">
              <a:schemeClr val="accent1">
                <a:hueOff val="0"/>
                <a:satOff val="0"/>
                <a:lumOff val="0"/>
                <a:alphaOff val="0"/>
              </a:schemeClr>
            </a:fillRef>
            <a:effectRef idx="1">
              <a:schemeClr val="accent1">
                <a:hueOff val="0"/>
                <a:satOff val="0"/>
                <a:lumOff val="0"/>
                <a:alphaOff val="0"/>
              </a:schemeClr>
            </a:effectRef>
            <a:fontRef idx="minor">
              <a:schemeClr val="dk1"/>
            </a:fontRef>
          </p:style>
        </p:sp>
        <p:sp>
          <p:nvSpPr>
            <p:cNvPr id="8" name="Oval 4">
              <a:extLst>
                <a:ext uri="{FF2B5EF4-FFF2-40B4-BE49-F238E27FC236}">
                  <a16:creationId xmlns:a16="http://schemas.microsoft.com/office/drawing/2014/main" id="{1D06D2F2-F675-4326-96BE-95098985CE90}"/>
                </a:ext>
              </a:extLst>
            </p:cNvPr>
            <p:cNvSpPr txBox="1"/>
            <p:nvPr/>
          </p:nvSpPr>
          <p:spPr>
            <a:xfrm>
              <a:off x="436926" y="196974"/>
              <a:ext cx="949190" cy="949190"/>
            </a:xfrm>
            <a:prstGeom prst="rect">
              <a:avLst/>
            </a:prstGeom>
            <a:sp3d/>
          </p:spPr>
          <p:style>
            <a:lnRef idx="0">
              <a:scrgbClr r="0" g="0" b="0"/>
            </a:lnRef>
            <a:fillRef idx="0">
              <a:scrgbClr r="0" g="0" b="0"/>
            </a:fillRef>
            <a:effectRef idx="0">
              <a:scrgbClr r="0" g="0" b="0"/>
            </a:effectRef>
            <a:fontRef idx="minor">
              <a:schemeClr val="dk1"/>
            </a:fontRef>
          </p:style>
          <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kern="1200" dirty="0"/>
                <a:t>page 21</a:t>
              </a:r>
            </a:p>
          </p:txBody>
        </p:sp>
      </p:grpSp>
      <p:pic>
        <p:nvPicPr>
          <p:cNvPr id="2" name="Picture 1">
            <a:extLst>
              <a:ext uri="{FF2B5EF4-FFF2-40B4-BE49-F238E27FC236}">
                <a16:creationId xmlns:a16="http://schemas.microsoft.com/office/drawing/2014/main" id="{CE719B28-3B49-0B4E-9186-FA2F68751405}"/>
              </a:ext>
            </a:extLst>
          </p:cNvPr>
          <p:cNvPicPr>
            <a:picLocks noChangeAspect="1"/>
          </p:cNvPicPr>
          <p:nvPr/>
        </p:nvPicPr>
        <p:blipFill>
          <a:blip r:embed="rId3"/>
          <a:stretch>
            <a:fillRect/>
          </a:stretch>
        </p:blipFill>
        <p:spPr>
          <a:xfrm>
            <a:off x="3198812" y="1066800"/>
            <a:ext cx="3314007" cy="4953000"/>
          </a:xfrm>
          <a:prstGeom prst="rect">
            <a:avLst/>
          </a:prstGeom>
        </p:spPr>
      </p:pic>
    </p:spTree>
    <p:extLst>
      <p:ext uri="{BB962C8B-B14F-4D97-AF65-F5344CB8AC3E}">
        <p14:creationId xmlns:p14="http://schemas.microsoft.com/office/powerpoint/2010/main" val="421712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4091894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3</a:t>
            </a:r>
            <a:br>
              <a:rPr lang="en-US" sz="5400" dirty="0"/>
            </a:br>
            <a:r>
              <a:rPr lang="en-US" sz="5400" dirty="0"/>
              <a:t>A Tour of ProFile</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F4682DE-ECB1-F941-BA2E-29C113BB47BC}"/>
              </a:ext>
            </a:extLst>
          </p:cNvPr>
          <p:cNvPicPr>
            <a:picLocks noChangeAspect="1"/>
          </p:cNvPicPr>
          <p:nvPr/>
        </p:nvPicPr>
        <p:blipFill>
          <a:blip r:embed="rId3"/>
          <a:stretch>
            <a:fillRect/>
          </a:stretch>
        </p:blipFill>
        <p:spPr>
          <a:xfrm>
            <a:off x="989012" y="1371600"/>
            <a:ext cx="4864100" cy="51435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6BED83-1E1F-8B41-B724-F92E8009C502}"/>
              </a:ext>
            </a:extLst>
          </p:cNvPr>
          <p:cNvPicPr/>
          <p:nvPr/>
        </p:nvPicPr>
        <p:blipFill>
          <a:blip r:embed="rId3"/>
          <a:stretch>
            <a:fillRect/>
          </a:stretch>
        </p:blipFill>
        <p:spPr>
          <a:xfrm>
            <a:off x="303212" y="1524001"/>
            <a:ext cx="6553200" cy="4038600"/>
          </a:xfrm>
          <a:prstGeom prst="rect">
            <a:avLst/>
          </a:prstGeom>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tour of ProFile</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969661"/>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4061998521"/>
              </p:ext>
            </p:extLst>
          </p:nvPr>
        </p:nvGraphicFramePr>
        <p:xfrm>
          <a:off x="7542211" y="1761735"/>
          <a:ext cx="4343401" cy="409653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91521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615922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display options</a:t>
            </a:r>
          </a:p>
        </p:txBody>
      </p:sp>
      <p:graphicFrame>
        <p:nvGraphicFramePr>
          <p:cNvPr id="7" name="Content Placeholder 2">
            <a:extLst>
              <a:ext uri="{FF2B5EF4-FFF2-40B4-BE49-F238E27FC236}">
                <a16:creationId xmlns:a16="http://schemas.microsoft.com/office/drawing/2014/main" id="{6C796030-2562-4393-BE3C-B9EB69959139}"/>
              </a:ext>
            </a:extLst>
          </p:cNvPr>
          <p:cNvGraphicFramePr>
            <a:graphicFrameLocks/>
          </p:cNvGraphicFramePr>
          <p:nvPr>
            <p:extLst>
              <p:ext uri="{D42A27DB-BD31-4B8C-83A1-F6EECF244321}">
                <p14:modId xmlns:p14="http://schemas.microsoft.com/office/powerpoint/2010/main" val="197637365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648879879"/>
              </p:ext>
            </p:extLst>
          </p:nvPr>
        </p:nvGraphicFramePr>
        <p:xfrm>
          <a:off x="7439768" y="1660861"/>
          <a:ext cx="4267200" cy="425420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 name="Picture 2">
            <a:extLst>
              <a:ext uri="{FF2B5EF4-FFF2-40B4-BE49-F238E27FC236}">
                <a16:creationId xmlns:a16="http://schemas.microsoft.com/office/drawing/2014/main" id="{CE1402EA-01D1-8D4D-855F-A7C9CC649593}"/>
              </a:ext>
            </a:extLst>
          </p:cNvPr>
          <p:cNvPicPr>
            <a:picLocks noChangeAspect="1"/>
          </p:cNvPicPr>
          <p:nvPr/>
        </p:nvPicPr>
        <p:blipFill>
          <a:blip r:embed="rId13"/>
          <a:stretch>
            <a:fillRect/>
          </a:stretch>
        </p:blipFill>
        <p:spPr>
          <a:xfrm>
            <a:off x="1885388" y="1218010"/>
            <a:ext cx="5272152" cy="5410200"/>
          </a:xfrm>
          <a:prstGeom prst="rect">
            <a:avLst/>
          </a:prstGeom>
        </p:spPr>
      </p:pic>
    </p:spTree>
    <p:extLst>
      <p:ext uri="{BB962C8B-B14F-4D97-AF65-F5344CB8AC3E}">
        <p14:creationId xmlns:p14="http://schemas.microsoft.com/office/powerpoint/2010/main" val="532980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ditor</a:t>
            </a:r>
          </a:p>
        </p:txBody>
      </p:sp>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1427852915"/>
              </p:ext>
            </p:extLst>
          </p:nvPr>
        </p:nvGraphicFramePr>
        <p:xfrm>
          <a:off x="8456612" y="2519353"/>
          <a:ext cx="2776353" cy="1819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8243358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 name="Picture 1">
            <a:extLst>
              <a:ext uri="{FF2B5EF4-FFF2-40B4-BE49-F238E27FC236}">
                <a16:creationId xmlns:a16="http://schemas.microsoft.com/office/drawing/2014/main" id="{98197399-9E0F-E342-B33F-D3337403278E}"/>
              </a:ext>
            </a:extLst>
          </p:cNvPr>
          <p:cNvPicPr>
            <a:picLocks noChangeAspect="1"/>
          </p:cNvPicPr>
          <p:nvPr/>
        </p:nvPicPr>
        <p:blipFill>
          <a:blip r:embed="rId13"/>
          <a:stretch>
            <a:fillRect/>
          </a:stretch>
        </p:blipFill>
        <p:spPr>
          <a:xfrm>
            <a:off x="836612" y="1249916"/>
            <a:ext cx="7232650" cy="4116216"/>
          </a:xfrm>
          <a:prstGeom prst="rect">
            <a:avLst/>
          </a:prstGeom>
        </p:spPr>
      </p:pic>
    </p:spTree>
    <p:extLst>
      <p:ext uri="{BB962C8B-B14F-4D97-AF65-F5344CB8AC3E}">
        <p14:creationId xmlns:p14="http://schemas.microsoft.com/office/powerpoint/2010/main" val="18578239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ditor</a:t>
            </a:r>
          </a:p>
        </p:txBody>
      </p:sp>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4152016630"/>
              </p:ext>
            </p:extLst>
          </p:nvPr>
        </p:nvGraphicFramePr>
        <p:xfrm>
          <a:off x="7923212" y="2133600"/>
          <a:ext cx="2776353" cy="18192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46511960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 name="Picture 1">
            <a:extLst>
              <a:ext uri="{FF2B5EF4-FFF2-40B4-BE49-F238E27FC236}">
                <a16:creationId xmlns:a16="http://schemas.microsoft.com/office/drawing/2014/main" id="{3B81A903-44FA-9644-BD2E-615F99A3CA4D}"/>
              </a:ext>
            </a:extLst>
          </p:cNvPr>
          <p:cNvPicPr>
            <a:picLocks noChangeAspect="1"/>
          </p:cNvPicPr>
          <p:nvPr/>
        </p:nvPicPr>
        <p:blipFill>
          <a:blip r:embed="rId13"/>
          <a:stretch>
            <a:fillRect/>
          </a:stretch>
        </p:blipFill>
        <p:spPr>
          <a:xfrm>
            <a:off x="1065212" y="1726949"/>
            <a:ext cx="6394450" cy="3639183"/>
          </a:xfrm>
          <a:prstGeom prst="rect">
            <a:avLst/>
          </a:prstGeom>
        </p:spPr>
      </p:pic>
    </p:spTree>
    <p:extLst>
      <p:ext uri="{BB962C8B-B14F-4D97-AF65-F5344CB8AC3E}">
        <p14:creationId xmlns:p14="http://schemas.microsoft.com/office/powerpoint/2010/main" val="604316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EB6D05-6B36-5C44-9A19-553456024D3A}"/>
              </a:ext>
            </a:extLst>
          </p:cNvPr>
          <p:cNvPicPr>
            <a:picLocks noChangeAspect="1"/>
          </p:cNvPicPr>
          <p:nvPr/>
        </p:nvPicPr>
        <p:blipFill>
          <a:blip r:embed="rId3"/>
          <a:stretch>
            <a:fillRect/>
          </a:stretch>
        </p:blipFill>
        <p:spPr>
          <a:xfrm>
            <a:off x="169862" y="2552700"/>
            <a:ext cx="11849100" cy="1752600"/>
          </a:xfrm>
          <a:prstGeom prst="rect">
            <a:avLst/>
          </a:prstGeom>
        </p:spPr>
      </p:pic>
      <p:sp>
        <p:nvSpPr>
          <p:cNvPr id="5" name="Title 1"/>
          <p:cNvSpPr txBox="1">
            <a:spLocks/>
          </p:cNvSpPr>
          <p:nvPr/>
        </p:nvSpPr>
        <p:spPr>
          <a:xfrm>
            <a:off x="0" y="48768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ditor</a:t>
            </a:r>
          </a:p>
        </p:txBody>
      </p:sp>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3154109799"/>
              </p:ext>
            </p:extLst>
          </p:nvPr>
        </p:nvGraphicFramePr>
        <p:xfrm>
          <a:off x="8075612" y="482772"/>
          <a:ext cx="3505200" cy="18192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1451969675"/>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996142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370012" y="1447800"/>
            <a:ext cx="4666881" cy="4746499"/>
          </a:xfrm>
          <a:prstGeom prst="rect">
            <a:avLst/>
          </a:prstGeom>
        </p:spPr>
      </p:pic>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uditor</a:t>
            </a:r>
          </a:p>
        </p:txBody>
      </p:sp>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483370677"/>
              </p:ext>
            </p:extLst>
          </p:nvPr>
        </p:nvGraphicFramePr>
        <p:xfrm>
          <a:off x="7103693" y="2519353"/>
          <a:ext cx="2776353" cy="18192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3456241501"/>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22518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14</TotalTime>
  <Words>2267</Words>
  <Application>Microsoft Macintosh PowerPoint</Application>
  <PresentationFormat>Custom</PresentationFormat>
  <Paragraphs>240</Paragraphs>
  <Slides>18</Slides>
  <Notes>1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3 A Tour of ProFi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utting it all togeth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12</cp:revision>
  <cp:lastPrinted>2017-01-10T23:11:41Z</cp:lastPrinted>
  <dcterms:created xsi:type="dcterms:W3CDTF">2014-09-11T15:23:46Z</dcterms:created>
  <dcterms:modified xsi:type="dcterms:W3CDTF">2020-12-13T17:37:10Z</dcterms:modified>
</cp:coreProperties>
</file>